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tags/tag13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5" r:id="rId4"/>
  </p:sldMasterIdLst>
  <p:notesMasterIdLst>
    <p:notesMasterId r:id="rId29"/>
  </p:notesMasterIdLst>
  <p:sldIdLst>
    <p:sldId id="256" r:id="rId5"/>
    <p:sldId id="288" r:id="rId6"/>
    <p:sldId id="279" r:id="rId7"/>
    <p:sldId id="271" r:id="rId8"/>
    <p:sldId id="260" r:id="rId9"/>
    <p:sldId id="283" r:id="rId10"/>
    <p:sldId id="282" r:id="rId11"/>
    <p:sldId id="284" r:id="rId12"/>
    <p:sldId id="262" r:id="rId13"/>
    <p:sldId id="310" r:id="rId14"/>
    <p:sldId id="307" r:id="rId15"/>
    <p:sldId id="308" r:id="rId16"/>
    <p:sldId id="291" r:id="rId17"/>
    <p:sldId id="290" r:id="rId18"/>
    <p:sldId id="294" r:id="rId19"/>
    <p:sldId id="281" r:id="rId20"/>
    <p:sldId id="285" r:id="rId21"/>
    <p:sldId id="300" r:id="rId22"/>
    <p:sldId id="302" r:id="rId23"/>
    <p:sldId id="289" r:id="rId24"/>
    <p:sldId id="306" r:id="rId25"/>
    <p:sldId id="298" r:id="rId26"/>
    <p:sldId id="297" r:id="rId27"/>
    <p:sldId id="305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8689457-1B92-4854-9BCF-B65008C05B2D}">
          <p14:sldIdLst>
            <p14:sldId id="256"/>
            <p14:sldId id="288"/>
            <p14:sldId id="279"/>
            <p14:sldId id="271"/>
            <p14:sldId id="260"/>
            <p14:sldId id="283"/>
            <p14:sldId id="282"/>
            <p14:sldId id="284"/>
            <p14:sldId id="262"/>
            <p14:sldId id="310"/>
            <p14:sldId id="307"/>
            <p14:sldId id="308"/>
            <p14:sldId id="291"/>
          </p14:sldIdLst>
        </p14:section>
        <p14:section name="BackUp" id="{BC7B40EC-8956-4961-8D38-EF44593C21B5}">
          <p14:sldIdLst>
            <p14:sldId id="290"/>
            <p14:sldId id="294"/>
            <p14:sldId id="281"/>
            <p14:sldId id="285"/>
            <p14:sldId id="300"/>
            <p14:sldId id="302"/>
            <p14:sldId id="289"/>
            <p14:sldId id="306"/>
          </p14:sldIdLst>
        </p14:section>
        <p14:section name="FAQ" id="{4F1BDC0A-356B-4AAB-AEFD-56A02C6365D1}">
          <p14:sldIdLst>
            <p14:sldId id="298"/>
            <p14:sldId id="297"/>
            <p14:sldId id="305"/>
          </p14:sldIdLst>
        </p14:section>
        <p14:section name="Storage" id="{5EF788CE-3779-4D06-91A2-BAF3998342A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551" userDrawn="1">
          <p15:clr>
            <a:srgbClr val="A4A3A4"/>
          </p15:clr>
        </p15:guide>
        <p15:guide id="3" pos="7151" userDrawn="1">
          <p15:clr>
            <a:srgbClr val="A4A3A4"/>
          </p15:clr>
        </p15:guide>
        <p15:guide id="4" orient="horz" pos="388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A92"/>
    <a:srgbClr val="BAB8B8"/>
    <a:srgbClr val="F7C800"/>
    <a:srgbClr val="003194"/>
    <a:srgbClr val="457A93"/>
    <a:srgbClr val="767171"/>
    <a:srgbClr val="DFDFDF"/>
    <a:srgbClr val="EDEDED"/>
    <a:srgbClr val="FFFFFF"/>
    <a:srgbClr val="FFE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00C5ED-ECCF-4D12-B1A0-61D9C8C9B9A2}" v="1011" dt="2021-09-07T06:33:47.5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1754" autoAdjust="0"/>
  </p:normalViewPr>
  <p:slideViewPr>
    <p:cSldViewPr snapToGrid="0">
      <p:cViewPr varScale="1">
        <p:scale>
          <a:sx n="55" d="100"/>
          <a:sy n="55" d="100"/>
        </p:scale>
        <p:origin x="1098" y="72"/>
      </p:cViewPr>
      <p:guideLst>
        <p:guide orient="horz" pos="1026"/>
        <p:guide pos="551"/>
        <p:guide pos="7151"/>
        <p:guide orient="horz" pos="38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chlund | EWI" userId="00272c2a-d16f-4eb8-86ba-c28bcace438c" providerId="ADAL" clId="{46E1544F-72D8-4254-8935-79928106F321}"/>
    <pc:docChg chg="undo redo custSel addSld delSld modSld sldOrd modMainMaster modSection">
      <pc:chgData name="David Schlund | EWI" userId="00272c2a-d16f-4eb8-86ba-c28bcace438c" providerId="ADAL" clId="{46E1544F-72D8-4254-8935-79928106F321}" dt="2021-05-06T06:40:43.655" v="35620" actId="1076"/>
      <pc:docMkLst>
        <pc:docMk/>
      </pc:docMkLst>
      <pc:sldChg chg="modSp mod modNotesTx">
        <pc:chgData name="David Schlund | EWI" userId="00272c2a-d16f-4eb8-86ba-c28bcace438c" providerId="ADAL" clId="{46E1544F-72D8-4254-8935-79928106F321}" dt="2021-04-28T08:30:36.457" v="25334" actId="20577"/>
        <pc:sldMkLst>
          <pc:docMk/>
          <pc:sldMk cId="689659190" sldId="256"/>
        </pc:sldMkLst>
        <pc:spChg chg="mod">
          <ac:chgData name="David Schlund | EWI" userId="00272c2a-d16f-4eb8-86ba-c28bcace438c" providerId="ADAL" clId="{46E1544F-72D8-4254-8935-79928106F321}" dt="2021-04-27T09:15:52.182" v="18471" actId="20577"/>
          <ac:spMkLst>
            <pc:docMk/>
            <pc:sldMk cId="689659190" sldId="256"/>
            <ac:spMk id="5" creationId="{00000000-0000-0000-0000-000000000000}"/>
          </ac:spMkLst>
        </pc:spChg>
      </pc:sldChg>
      <pc:sldChg chg="modSp mod">
        <pc:chgData name="David Schlund | EWI" userId="00272c2a-d16f-4eb8-86ba-c28bcace438c" providerId="ADAL" clId="{46E1544F-72D8-4254-8935-79928106F321}" dt="2021-04-12T15:39:19.913" v="1261"/>
        <pc:sldMkLst>
          <pc:docMk/>
          <pc:sldMk cId="296379702" sldId="257"/>
        </pc:sldMkLst>
        <pc:spChg chg="mod">
          <ac:chgData name="David Schlund | EWI" userId="00272c2a-d16f-4eb8-86ba-c28bcace438c" providerId="ADAL" clId="{46E1544F-72D8-4254-8935-79928106F321}" dt="2021-04-12T15:39:19.913" v="1261"/>
          <ac:spMkLst>
            <pc:docMk/>
            <pc:sldMk cId="296379702" sldId="257"/>
            <ac:spMk id="3" creationId="{00000000-0000-0000-0000-000000000000}"/>
          </ac:spMkLst>
        </pc:spChg>
      </pc:sldChg>
      <pc:sldChg chg="del">
        <pc:chgData name="David Schlund | EWI" userId="00272c2a-d16f-4eb8-86ba-c28bcace438c" providerId="ADAL" clId="{46E1544F-72D8-4254-8935-79928106F321}" dt="2021-04-28T13:59:08.037" v="32042" actId="47"/>
        <pc:sldMkLst>
          <pc:docMk/>
          <pc:sldMk cId="1856632572" sldId="257"/>
        </pc:sldMkLst>
      </pc:sldChg>
      <pc:sldChg chg="del">
        <pc:chgData name="David Schlund | EWI" userId="00272c2a-d16f-4eb8-86ba-c28bcace438c" providerId="ADAL" clId="{46E1544F-72D8-4254-8935-79928106F321}" dt="2021-04-28T13:59:11.962" v="32044" actId="47"/>
        <pc:sldMkLst>
          <pc:docMk/>
          <pc:sldMk cId="990038531" sldId="259"/>
        </pc:sldMkLst>
      </pc:sldChg>
      <pc:sldChg chg="addSp modSp mod">
        <pc:chgData name="David Schlund | EWI" userId="00272c2a-d16f-4eb8-86ba-c28bcace438c" providerId="ADAL" clId="{46E1544F-72D8-4254-8935-79928106F321}" dt="2021-04-12T15:39:23.362" v="1262" actId="20577"/>
        <pc:sldMkLst>
          <pc:docMk/>
          <pc:sldMk cId="2484752434" sldId="259"/>
        </pc:sldMkLst>
        <pc:spChg chg="mod">
          <ac:chgData name="David Schlund | EWI" userId="00272c2a-d16f-4eb8-86ba-c28bcace438c" providerId="ADAL" clId="{46E1544F-72D8-4254-8935-79928106F321}" dt="2021-04-08T09:18:21.573" v="640" actId="948"/>
          <ac:spMkLst>
            <pc:docMk/>
            <pc:sldMk cId="2484752434" sldId="259"/>
            <ac:spMk id="2" creationId="{00000000-0000-0000-0000-000000000000}"/>
          </ac:spMkLst>
        </pc:spChg>
        <pc:spChg chg="mod">
          <ac:chgData name="David Schlund | EWI" userId="00272c2a-d16f-4eb8-86ba-c28bcace438c" providerId="ADAL" clId="{46E1544F-72D8-4254-8935-79928106F321}" dt="2021-04-12T15:39:23.362" v="1262" actId="20577"/>
          <ac:spMkLst>
            <pc:docMk/>
            <pc:sldMk cId="2484752434" sldId="259"/>
            <ac:spMk id="3" creationId="{00000000-0000-0000-0000-000000000000}"/>
          </ac:spMkLst>
        </pc:spChg>
        <pc:graphicFrameChg chg="add mod ord modVis">
          <ac:chgData name="David Schlund | EWI" userId="00272c2a-d16f-4eb8-86ba-c28bcace438c" providerId="ADAL" clId="{46E1544F-72D8-4254-8935-79928106F321}" dt="2021-04-08T09:18:21.594" v="655"/>
          <ac:graphicFrameMkLst>
            <pc:docMk/>
            <pc:sldMk cId="2484752434" sldId="259"/>
            <ac:graphicFrameMk id="4" creationId="{495C22E3-A464-4580-BD5F-7DDC440FDAC6}"/>
          </ac:graphicFrameMkLst>
        </pc:graphicFrameChg>
      </pc:sldChg>
      <pc:sldChg chg="addSp delSp modSp mod addAnim delAnim modAnim modNotesTx">
        <pc:chgData name="David Schlund | EWI" userId="00272c2a-d16f-4eb8-86ba-c28bcace438c" providerId="ADAL" clId="{46E1544F-72D8-4254-8935-79928106F321}" dt="2021-04-29T08:10:54.913" v="35593" actId="20577"/>
        <pc:sldMkLst>
          <pc:docMk/>
          <pc:sldMk cId="2423556196" sldId="260"/>
        </pc:sldMkLst>
        <pc:spChg chg="mod">
          <ac:chgData name="David Schlund | EWI" userId="00272c2a-d16f-4eb8-86ba-c28bcace438c" providerId="ADAL" clId="{46E1544F-72D8-4254-8935-79928106F321}" dt="2021-04-26T15:00:11.412" v="16691" actId="948"/>
          <ac:spMkLst>
            <pc:docMk/>
            <pc:sldMk cId="2423556196" sldId="260"/>
            <ac:spMk id="2" creationId="{00000000-0000-0000-0000-000000000000}"/>
          </ac:spMkLst>
        </pc:spChg>
        <pc:spChg chg="add del mod">
          <ac:chgData name="David Schlund | EWI" userId="00272c2a-d16f-4eb8-86ba-c28bcace438c" providerId="ADAL" clId="{46E1544F-72D8-4254-8935-79928106F321}" dt="2021-04-27T13:05:25.561" v="22737" actId="478"/>
          <ac:spMkLst>
            <pc:docMk/>
            <pc:sldMk cId="2423556196" sldId="260"/>
            <ac:spMk id="3" creationId="{00000000-0000-0000-0000-000000000000}"/>
          </ac:spMkLst>
        </pc:spChg>
        <pc:spChg chg="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4" creationId="{54D1BCFC-C60B-4F7C-8284-05CED1844E4E}"/>
          </ac:spMkLst>
        </pc:spChg>
        <pc:spChg chg="add del">
          <ac:chgData name="David Schlund | EWI" userId="00272c2a-d16f-4eb8-86ba-c28bcace438c" providerId="ADAL" clId="{46E1544F-72D8-4254-8935-79928106F321}" dt="2021-04-25T10:52:11.716" v="12626" actId="478"/>
          <ac:spMkLst>
            <pc:docMk/>
            <pc:sldMk cId="2423556196" sldId="260"/>
            <ac:spMk id="5" creationId="{8196676D-916F-4B87-A289-FAAC7D63D4DB}"/>
          </ac:spMkLst>
        </pc:spChg>
        <pc:spChg chg="add del mod">
          <ac:chgData name="David Schlund | EWI" userId="00272c2a-d16f-4eb8-86ba-c28bcace438c" providerId="ADAL" clId="{46E1544F-72D8-4254-8935-79928106F321}" dt="2021-04-26T14:58:31.210" v="16564" actId="478"/>
          <ac:spMkLst>
            <pc:docMk/>
            <pc:sldMk cId="2423556196" sldId="260"/>
            <ac:spMk id="5" creationId="{859AB6A6-1D79-42C1-8493-E3490CF5B52B}"/>
          </ac:spMkLst>
        </pc:spChg>
        <pc:spChg chg="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6" creationId="{6F7D22F8-0604-414E-92B4-4096981DA794}"/>
          </ac:spMkLst>
        </pc:spChg>
        <pc:spChg chg="mod">
          <ac:chgData name="David Schlund | EWI" userId="00272c2a-d16f-4eb8-86ba-c28bcace438c" providerId="ADAL" clId="{46E1544F-72D8-4254-8935-79928106F321}" dt="2021-04-27T16:22:39.794" v="25062" actId="1076"/>
          <ac:spMkLst>
            <pc:docMk/>
            <pc:sldMk cId="2423556196" sldId="260"/>
            <ac:spMk id="7" creationId="{9C4C776D-D45B-4F44-8186-1EA31E3F288D}"/>
          </ac:spMkLst>
        </pc:spChg>
        <pc:spChg chg="mod">
          <ac:chgData name="David Schlund | EWI" userId="00272c2a-d16f-4eb8-86ba-c28bcace438c" providerId="ADAL" clId="{46E1544F-72D8-4254-8935-79928106F321}" dt="2021-04-27T16:30:35.004" v="25118" actId="1076"/>
          <ac:spMkLst>
            <pc:docMk/>
            <pc:sldMk cId="2423556196" sldId="260"/>
            <ac:spMk id="8" creationId="{2E662CB9-7632-49DE-A413-88CFF9547CF7}"/>
          </ac:spMkLst>
        </pc:spChg>
        <pc:spChg chg="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9" creationId="{16FDFACD-23E9-458D-8486-0B4F0F277EAA}"/>
          </ac:spMkLst>
        </pc:spChg>
        <pc:spChg chg="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10" creationId="{D5C81A7A-495B-45C4-BDB5-8E2C43DEA87E}"/>
          </ac:spMkLst>
        </pc:spChg>
        <pc:spChg chg="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11" creationId="{A048582B-29E6-4827-A5FD-174175DC858C}"/>
          </ac:spMkLst>
        </pc:spChg>
        <pc:spChg chg="add del mod">
          <ac:chgData name="David Schlund | EWI" userId="00272c2a-d16f-4eb8-86ba-c28bcace438c" providerId="ADAL" clId="{46E1544F-72D8-4254-8935-79928106F321}" dt="2021-04-27T13:05:47.724" v="22741" actId="14100"/>
          <ac:spMkLst>
            <pc:docMk/>
            <pc:sldMk cId="2423556196" sldId="260"/>
            <ac:spMk id="12" creationId="{038C0246-E35E-4EDF-BD82-6FAF40C5C15C}"/>
          </ac:spMkLst>
        </pc:spChg>
        <pc:spChg chg="del">
          <ac:chgData name="David Schlund | EWI" userId="00272c2a-d16f-4eb8-86ba-c28bcace438c" providerId="ADAL" clId="{46E1544F-72D8-4254-8935-79928106F321}" dt="2021-04-21T12:30:36.437" v="7838" actId="21"/>
          <ac:spMkLst>
            <pc:docMk/>
            <pc:sldMk cId="2423556196" sldId="260"/>
            <ac:spMk id="12" creationId="{8A906294-AC06-4016-97CA-17C7F3953672}"/>
          </ac:spMkLst>
        </pc:spChg>
        <pc:spChg chg="add del mod">
          <ac:chgData name="David Schlund | EWI" userId="00272c2a-d16f-4eb8-86ba-c28bcace438c" providerId="ADAL" clId="{46E1544F-72D8-4254-8935-79928106F321}" dt="2021-04-27T13:05:19.078" v="22735" actId="478"/>
          <ac:spMkLst>
            <pc:docMk/>
            <pc:sldMk cId="2423556196" sldId="260"/>
            <ac:spMk id="13" creationId="{915D7BDC-9F0C-4182-A7EE-66DD8823091E}"/>
          </ac:spMkLst>
        </pc:spChg>
        <pc:spChg chg="add del mod modVis">
          <ac:chgData name="David Schlund | EWI" userId="00272c2a-d16f-4eb8-86ba-c28bcace438c" providerId="ADAL" clId="{46E1544F-72D8-4254-8935-79928106F321}" dt="2021-04-26T14:59:14.056" v="16662"/>
          <ac:spMkLst>
            <pc:docMk/>
            <pc:sldMk cId="2423556196" sldId="260"/>
            <ac:spMk id="13" creationId="{CEC3F67E-8040-48D5-99A8-5D4C5047EE2E}"/>
          </ac:spMkLst>
        </pc:spChg>
        <pc:spChg chg="del mod">
          <ac:chgData name="David Schlund | EWI" userId="00272c2a-d16f-4eb8-86ba-c28bcace438c" providerId="ADAL" clId="{46E1544F-72D8-4254-8935-79928106F321}" dt="2021-04-27T16:30:36.956" v="25119" actId="478"/>
          <ac:spMkLst>
            <pc:docMk/>
            <pc:sldMk cId="2423556196" sldId="260"/>
            <ac:spMk id="14" creationId="{817D9799-626B-4BD8-9AA4-AADD5301A0D6}"/>
          </ac:spMkLst>
        </pc:spChg>
        <pc:spChg chg="mod">
          <ac:chgData name="David Schlund | EWI" userId="00272c2a-d16f-4eb8-86ba-c28bcace438c" providerId="ADAL" clId="{46E1544F-72D8-4254-8935-79928106F321}" dt="2021-04-25T10:52:23.226" v="12627" actId="1076"/>
          <ac:spMkLst>
            <pc:docMk/>
            <pc:sldMk cId="2423556196" sldId="260"/>
            <ac:spMk id="15" creationId="{123FE2CA-C69B-4D50-8084-5E97DD91A2B8}"/>
          </ac:spMkLst>
        </pc:spChg>
        <pc:spChg chg="add 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16" creationId="{F4331B9A-037E-44FB-85C4-8146ECF9A500}"/>
          </ac:spMkLst>
        </pc:spChg>
        <pc:spChg chg="add 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17" creationId="{BE5D55EC-D55A-4AE7-A660-60DB717666C8}"/>
          </ac:spMkLst>
        </pc:spChg>
        <pc:spChg chg="add del mod">
          <ac:chgData name="David Schlund | EWI" userId="00272c2a-d16f-4eb8-86ba-c28bcace438c" providerId="ADAL" clId="{46E1544F-72D8-4254-8935-79928106F321}" dt="2021-04-25T10:57:46.755" v="12709" actId="478"/>
          <ac:spMkLst>
            <pc:docMk/>
            <pc:sldMk cId="2423556196" sldId="260"/>
            <ac:spMk id="18" creationId="{9B271E2D-217B-4749-98CF-7C06F9AE886E}"/>
          </ac:spMkLst>
        </pc:spChg>
        <pc:spChg chg="add del mod">
          <ac:chgData name="David Schlund | EWI" userId="00272c2a-d16f-4eb8-86ba-c28bcace438c" providerId="ADAL" clId="{46E1544F-72D8-4254-8935-79928106F321}" dt="2021-04-27T11:01:14.640" v="18707" actId="478"/>
          <ac:spMkLst>
            <pc:docMk/>
            <pc:sldMk cId="2423556196" sldId="260"/>
            <ac:spMk id="18" creationId="{9D7BBF78-C83E-456A-B7C8-0760EAD9C209}"/>
          </ac:spMkLst>
        </pc:spChg>
        <pc:spChg chg="add 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19" creationId="{C839411D-5ED2-4DF1-916B-17AC87AD5A21}"/>
          </ac:spMkLst>
        </pc:spChg>
        <pc:spChg chg="add del mod">
          <ac:chgData name="David Schlund | EWI" userId="00272c2a-d16f-4eb8-86ba-c28bcace438c" providerId="ADAL" clId="{46E1544F-72D8-4254-8935-79928106F321}" dt="2021-04-26T14:57:21.574" v="16549" actId="478"/>
          <ac:spMkLst>
            <pc:docMk/>
            <pc:sldMk cId="2423556196" sldId="260"/>
            <ac:spMk id="20" creationId="{1385BFCA-BB9F-4FE3-AC84-37820D986882}"/>
          </ac:spMkLst>
        </pc:spChg>
        <pc:spChg chg="add mod">
          <ac:chgData name="David Schlund | EWI" userId="00272c2a-d16f-4eb8-86ba-c28bcace438c" providerId="ADAL" clId="{46E1544F-72D8-4254-8935-79928106F321}" dt="2021-04-27T13:05:37.765" v="22739" actId="1076"/>
          <ac:spMkLst>
            <pc:docMk/>
            <pc:sldMk cId="2423556196" sldId="260"/>
            <ac:spMk id="20" creationId="{1F7C43C0-1CDD-44AE-A719-E4A22E14DA18}"/>
          </ac:spMkLst>
        </pc:spChg>
        <pc:spChg chg="add del mod">
          <ac:chgData name="David Schlund | EWI" userId="00272c2a-d16f-4eb8-86ba-c28bcace438c" providerId="ADAL" clId="{46E1544F-72D8-4254-8935-79928106F321}" dt="2021-04-26T14:57:21.574" v="16549" actId="478"/>
          <ac:spMkLst>
            <pc:docMk/>
            <pc:sldMk cId="2423556196" sldId="260"/>
            <ac:spMk id="21" creationId="{67A56FC7-6E01-4981-9145-E54A67468ED8}"/>
          </ac:spMkLst>
        </pc:spChg>
        <pc:spChg chg="add mod">
          <ac:chgData name="David Schlund | EWI" userId="00272c2a-d16f-4eb8-86ba-c28bcace438c" providerId="ADAL" clId="{46E1544F-72D8-4254-8935-79928106F321}" dt="2021-04-29T08:10:54.913" v="35593" actId="20577"/>
          <ac:spMkLst>
            <pc:docMk/>
            <pc:sldMk cId="2423556196" sldId="260"/>
            <ac:spMk id="22" creationId="{692FC60D-16FE-4FE1-A745-BCBE8FA7C7B5}"/>
          </ac:spMkLst>
        </pc:spChg>
        <pc:spChg chg="add mod">
          <ac:chgData name="David Schlund | EWI" userId="00272c2a-d16f-4eb8-86ba-c28bcace438c" providerId="ADAL" clId="{46E1544F-72D8-4254-8935-79928106F321}" dt="2021-04-27T13:06:19.284" v="22755" actId="1036"/>
          <ac:spMkLst>
            <pc:docMk/>
            <pc:sldMk cId="2423556196" sldId="260"/>
            <ac:spMk id="23" creationId="{A5810E11-A66F-4661-8D0A-B2A95C4614C4}"/>
          </ac:spMkLst>
        </pc:spChg>
        <pc:spChg chg="add del mod modVis">
          <ac:chgData name="David Schlund | EWI" userId="00272c2a-d16f-4eb8-86ba-c28bcace438c" providerId="ADAL" clId="{46E1544F-72D8-4254-8935-79928106F321}" dt="2021-04-26T15:00:11.455" v="16728"/>
          <ac:spMkLst>
            <pc:docMk/>
            <pc:sldMk cId="2423556196" sldId="260"/>
            <ac:spMk id="24" creationId="{5AE4E070-6B27-4C83-9C43-A68F55B5C137}"/>
          </ac:spMkLst>
        </pc:spChg>
        <pc:spChg chg="add del mod">
          <ac:chgData name="David Schlund | EWI" userId="00272c2a-d16f-4eb8-86ba-c28bcace438c" providerId="ADAL" clId="{46E1544F-72D8-4254-8935-79928106F321}" dt="2021-04-27T13:05:27.707" v="22738" actId="478"/>
          <ac:spMkLst>
            <pc:docMk/>
            <pc:sldMk cId="2423556196" sldId="260"/>
            <ac:spMk id="24" creationId="{CED5946A-110D-45A9-AF1C-D4BB9C05D3EB}"/>
          </ac:spMkLst>
        </pc:spChg>
        <pc:spChg chg="add mod">
          <ac:chgData name="David Schlund | EWI" userId="00272c2a-d16f-4eb8-86ba-c28bcace438c" providerId="ADAL" clId="{46E1544F-72D8-4254-8935-79928106F321}" dt="2021-04-27T16:20:28.380" v="25045" actId="1076"/>
          <ac:spMkLst>
            <pc:docMk/>
            <pc:sldMk cId="2423556196" sldId="260"/>
            <ac:spMk id="25" creationId="{BAF339A2-F528-4130-B8AB-CDE3DB3A61A5}"/>
          </ac:spMkLst>
        </pc:spChg>
        <pc:spChg chg="add mod">
          <ac:chgData name="David Schlund | EWI" userId="00272c2a-d16f-4eb8-86ba-c28bcace438c" providerId="ADAL" clId="{46E1544F-72D8-4254-8935-79928106F321}" dt="2021-04-27T16:30:27.708" v="25116" actId="1076"/>
          <ac:spMkLst>
            <pc:docMk/>
            <pc:sldMk cId="2423556196" sldId="260"/>
            <ac:spMk id="26" creationId="{85EE6AED-4087-4998-8B57-88BA09FCE8EC}"/>
          </ac:spMkLst>
        </pc:spChg>
        <pc:spChg chg="add mod">
          <ac:chgData name="David Schlund | EWI" userId="00272c2a-d16f-4eb8-86ba-c28bcace438c" providerId="ADAL" clId="{46E1544F-72D8-4254-8935-79928106F321}" dt="2021-04-27T16:34:39.270" v="25170" actId="1037"/>
          <ac:spMkLst>
            <pc:docMk/>
            <pc:sldMk cId="2423556196" sldId="260"/>
            <ac:spMk id="27" creationId="{64F5AA3F-A783-4A24-B789-F747771AA250}"/>
          </ac:spMkLst>
        </pc:spChg>
        <pc:graphicFrameChg chg="add mod ord modVis">
          <ac:chgData name="David Schlund | EWI" userId="00272c2a-d16f-4eb8-86ba-c28bcace438c" providerId="ADAL" clId="{46E1544F-72D8-4254-8935-79928106F321}" dt="2021-04-26T15:00:11.461" v="16730"/>
          <ac:graphicFrameMkLst>
            <pc:docMk/>
            <pc:sldMk cId="2423556196" sldId="260"/>
            <ac:graphicFrameMk id="15" creationId="{46011587-8992-4BF4-944E-36F6B765BC67}"/>
          </ac:graphicFrameMkLst>
        </pc:graphicFrameChg>
      </pc:sldChg>
      <pc:sldChg chg="del">
        <pc:chgData name="David Schlund | EWI" userId="00272c2a-d16f-4eb8-86ba-c28bcace438c" providerId="ADAL" clId="{46E1544F-72D8-4254-8935-79928106F321}" dt="2021-04-28T13:59:10.533" v="32043" actId="47"/>
        <pc:sldMkLst>
          <pc:docMk/>
          <pc:sldMk cId="3166979498" sldId="261"/>
        </pc:sldMkLst>
      </pc:sldChg>
      <pc:sldChg chg="addSp delSp modSp mod modAnim modNotesTx">
        <pc:chgData name="David Schlund | EWI" userId="00272c2a-d16f-4eb8-86ba-c28bcace438c" providerId="ADAL" clId="{46E1544F-72D8-4254-8935-79928106F321}" dt="2021-04-28T12:34:57.645" v="29784" actId="20577"/>
        <pc:sldMkLst>
          <pc:docMk/>
          <pc:sldMk cId="3372621598" sldId="262"/>
        </pc:sldMkLst>
        <pc:spChg chg="mod">
          <ac:chgData name="David Schlund | EWI" userId="00272c2a-d16f-4eb8-86ba-c28bcace438c" providerId="ADAL" clId="{46E1544F-72D8-4254-8935-79928106F321}" dt="2021-04-28T08:50:39.474" v="26531" actId="948"/>
          <ac:spMkLst>
            <pc:docMk/>
            <pc:sldMk cId="3372621598" sldId="262"/>
            <ac:spMk id="2" creationId="{00000000-0000-0000-0000-000000000000}"/>
          </ac:spMkLst>
        </pc:spChg>
        <pc:spChg chg="mod">
          <ac:chgData name="David Schlund | EWI" userId="00272c2a-d16f-4eb8-86ba-c28bcace438c" providerId="ADAL" clId="{46E1544F-72D8-4254-8935-79928106F321}" dt="2021-04-26T15:11:28.539" v="17711" actId="790"/>
          <ac:spMkLst>
            <pc:docMk/>
            <pc:sldMk cId="3372621598" sldId="262"/>
            <ac:spMk id="3" creationId="{00000000-0000-0000-0000-000000000000}"/>
          </ac:spMkLst>
        </pc:spChg>
        <pc:spChg chg="mod">
          <ac:chgData name="David Schlund | EWI" userId="00272c2a-d16f-4eb8-86ba-c28bcace438c" providerId="ADAL" clId="{46E1544F-72D8-4254-8935-79928106F321}" dt="2021-04-28T12:34:49.707" v="29776" actId="20577"/>
          <ac:spMkLst>
            <pc:docMk/>
            <pc:sldMk cId="3372621598" sldId="262"/>
            <ac:spMk id="4" creationId="{0431B869-5D1A-4356-94B0-8C2760BE22F5}"/>
          </ac:spMkLst>
        </pc:spChg>
        <pc:spChg chg="mod">
          <ac:chgData name="David Schlund | EWI" userId="00272c2a-d16f-4eb8-86ba-c28bcace438c" providerId="ADAL" clId="{46E1544F-72D8-4254-8935-79928106F321}" dt="2021-04-28T12:34:57.645" v="29784" actId="20577"/>
          <ac:spMkLst>
            <pc:docMk/>
            <pc:sldMk cId="3372621598" sldId="262"/>
            <ac:spMk id="5" creationId="{17B7A26D-CD28-4844-B6A3-1B59734C024C}"/>
          </ac:spMkLst>
        </pc:spChg>
        <pc:spChg chg="add del mod modVis">
          <ac:chgData name="David Schlund | EWI" userId="00272c2a-d16f-4eb8-86ba-c28bcace438c" providerId="ADAL" clId="{46E1544F-72D8-4254-8935-79928106F321}" dt="2021-04-28T08:50:39.538" v="26568"/>
          <ac:spMkLst>
            <pc:docMk/>
            <pc:sldMk cId="3372621598" sldId="262"/>
            <ac:spMk id="6" creationId="{38036B52-2FAA-4F5F-B3F5-C22F264840CA}"/>
          </ac:spMkLst>
        </pc:spChg>
        <pc:spChg chg="add del mod modVis">
          <ac:chgData name="David Schlund | EWI" userId="00272c2a-d16f-4eb8-86ba-c28bcace438c" providerId="ADAL" clId="{46E1544F-72D8-4254-8935-79928106F321}" dt="2021-04-26T15:11:29.086" v="17749"/>
          <ac:spMkLst>
            <pc:docMk/>
            <pc:sldMk cId="3372621598" sldId="262"/>
            <ac:spMk id="6" creationId="{76EED471-5747-4F85-A426-E2A2399E3DDB}"/>
          </ac:spMkLst>
        </pc:spChg>
        <pc:spChg chg="mod">
          <ac:chgData name="David Schlund | EWI" userId="00272c2a-d16f-4eb8-86ba-c28bcace438c" providerId="ADAL" clId="{46E1544F-72D8-4254-8935-79928106F321}" dt="2021-04-26T15:11:28.539" v="17711" actId="790"/>
          <ac:spMkLst>
            <pc:docMk/>
            <pc:sldMk cId="3372621598" sldId="262"/>
            <ac:spMk id="8" creationId="{70E1CC95-5381-4EE1-B2C7-3779EC57DABF}"/>
          </ac:spMkLst>
        </pc:spChg>
        <pc:spChg chg="mod">
          <ac:chgData name="David Schlund | EWI" userId="00272c2a-d16f-4eb8-86ba-c28bcace438c" providerId="ADAL" clId="{46E1544F-72D8-4254-8935-79928106F321}" dt="2021-04-27T12:10:48.281" v="21352" actId="1037"/>
          <ac:spMkLst>
            <pc:docMk/>
            <pc:sldMk cId="3372621598" sldId="262"/>
            <ac:spMk id="9" creationId="{F726DFAB-5754-4765-8907-076A8670267C}"/>
          </ac:spMkLst>
        </pc:spChg>
        <pc:spChg chg="mod">
          <ac:chgData name="David Schlund | EWI" userId="00272c2a-d16f-4eb8-86ba-c28bcace438c" providerId="ADAL" clId="{46E1544F-72D8-4254-8935-79928106F321}" dt="2021-04-26T15:11:28.539" v="17711" actId="790"/>
          <ac:spMkLst>
            <pc:docMk/>
            <pc:sldMk cId="3372621598" sldId="262"/>
            <ac:spMk id="16" creationId="{64BFCC5B-A4E5-4D1D-8BCF-BFB3A780FF9B}"/>
          </ac:spMkLst>
        </pc:spChg>
        <pc:spChg chg="mod">
          <ac:chgData name="David Schlund | EWI" userId="00272c2a-d16f-4eb8-86ba-c28bcace438c" providerId="ADAL" clId="{46E1544F-72D8-4254-8935-79928106F321}" dt="2021-04-26T15:11:28.539" v="17711" actId="790"/>
          <ac:spMkLst>
            <pc:docMk/>
            <pc:sldMk cId="3372621598" sldId="262"/>
            <ac:spMk id="17" creationId="{8514C0C3-264D-4BCB-BB80-68B3FBAF922E}"/>
          </ac:spMkLst>
        </pc:spChg>
        <pc:spChg chg="mod">
          <ac:chgData name="David Schlund | EWI" userId="00272c2a-d16f-4eb8-86ba-c28bcace438c" providerId="ADAL" clId="{46E1544F-72D8-4254-8935-79928106F321}" dt="2021-04-26T15:11:28.539" v="17711" actId="790"/>
          <ac:spMkLst>
            <pc:docMk/>
            <pc:sldMk cId="3372621598" sldId="262"/>
            <ac:spMk id="19" creationId="{8A786DA4-25D2-4F07-868D-76B9EA8D1A8C}"/>
          </ac:spMkLst>
        </pc:spChg>
        <pc:spChg chg="mod">
          <ac:chgData name="David Schlund | EWI" userId="00272c2a-d16f-4eb8-86ba-c28bcace438c" providerId="ADAL" clId="{46E1544F-72D8-4254-8935-79928106F321}" dt="2021-04-27T12:10:48.281" v="21352" actId="1037"/>
          <ac:spMkLst>
            <pc:docMk/>
            <pc:sldMk cId="3372621598" sldId="262"/>
            <ac:spMk id="21" creationId="{AA81D6D3-4531-41CA-8157-C3E0B7ED96AC}"/>
          </ac:spMkLst>
        </pc:spChg>
        <pc:spChg chg="mod">
          <ac:chgData name="David Schlund | EWI" userId="00272c2a-d16f-4eb8-86ba-c28bcace438c" providerId="ADAL" clId="{46E1544F-72D8-4254-8935-79928106F321}" dt="2021-04-28T12:34:13.654" v="29768" actId="20577"/>
          <ac:spMkLst>
            <pc:docMk/>
            <pc:sldMk cId="3372621598" sldId="262"/>
            <ac:spMk id="26" creationId="{FEB5DD18-0FF7-49DB-A097-868221D2C72A}"/>
          </ac:spMkLst>
        </pc:spChg>
        <pc:graphicFrameChg chg="add mod ord modVis">
          <ac:chgData name="David Schlund | EWI" userId="00272c2a-d16f-4eb8-86ba-c28bcace438c" providerId="ADAL" clId="{46E1544F-72D8-4254-8935-79928106F321}" dt="2021-04-28T08:50:39.549" v="26570"/>
          <ac:graphicFrameMkLst>
            <pc:docMk/>
            <pc:sldMk cId="3372621598" sldId="262"/>
            <ac:graphicFrameMk id="11" creationId="{7C48D4E2-0194-4052-BED5-26C48FCC6B65}"/>
          </ac:graphicFrameMkLst>
        </pc:graphicFrameChg>
        <pc:picChg chg="mod">
          <ac:chgData name="David Schlund | EWI" userId="00272c2a-d16f-4eb8-86ba-c28bcace438c" providerId="ADAL" clId="{46E1544F-72D8-4254-8935-79928106F321}" dt="2021-04-27T12:10:48.281" v="21352" actId="1037"/>
          <ac:picMkLst>
            <pc:docMk/>
            <pc:sldMk cId="3372621598" sldId="262"/>
            <ac:picMk id="14" creationId="{209B2F26-73DA-4EC4-9929-25836663A3A7}"/>
          </ac:picMkLst>
        </pc:picChg>
        <pc:picChg chg="mod">
          <ac:chgData name="David Schlund | EWI" userId="00272c2a-d16f-4eb8-86ba-c28bcace438c" providerId="ADAL" clId="{46E1544F-72D8-4254-8935-79928106F321}" dt="2021-04-27T12:10:48.281" v="21352" actId="1037"/>
          <ac:picMkLst>
            <pc:docMk/>
            <pc:sldMk cId="3372621598" sldId="262"/>
            <ac:picMk id="20" creationId="{51D318FC-044A-47D8-859C-90C001EB5EF2}"/>
          </ac:picMkLst>
        </pc:picChg>
        <pc:cxnChg chg="mod">
          <ac:chgData name="David Schlund | EWI" userId="00272c2a-d16f-4eb8-86ba-c28bcace438c" providerId="ADAL" clId="{46E1544F-72D8-4254-8935-79928106F321}" dt="2021-04-27T12:10:48.281" v="21352" actId="1037"/>
          <ac:cxnSpMkLst>
            <pc:docMk/>
            <pc:sldMk cId="3372621598" sldId="262"/>
            <ac:cxnSpMk id="24" creationId="{73BD4867-A64C-4D26-94B2-0EFC88D9DDEA}"/>
          </ac:cxnSpMkLst>
        </pc:cxnChg>
      </pc:sldChg>
      <pc:sldChg chg="del">
        <pc:chgData name="David Schlund | EWI" userId="00272c2a-d16f-4eb8-86ba-c28bcace438c" providerId="ADAL" clId="{46E1544F-72D8-4254-8935-79928106F321}" dt="2021-04-27T12:29:05.914" v="22476" actId="47"/>
        <pc:sldMkLst>
          <pc:docMk/>
          <pc:sldMk cId="2593749060" sldId="263"/>
        </pc:sldMkLst>
      </pc:sldChg>
      <pc:sldChg chg="del">
        <pc:chgData name="David Schlund | EWI" userId="00272c2a-d16f-4eb8-86ba-c28bcace438c" providerId="ADAL" clId="{46E1544F-72D8-4254-8935-79928106F321}" dt="2021-04-28T13:59:12.997" v="32045" actId="47"/>
        <pc:sldMkLst>
          <pc:docMk/>
          <pc:sldMk cId="4174302037" sldId="265"/>
        </pc:sldMkLst>
      </pc:sldChg>
      <pc:sldChg chg="addSp modSp new add del mod ord">
        <pc:chgData name="David Schlund | EWI" userId="00272c2a-d16f-4eb8-86ba-c28bcace438c" providerId="ADAL" clId="{46E1544F-72D8-4254-8935-79928106F321}" dt="2021-04-28T13:59:39.046" v="32046" actId="47"/>
        <pc:sldMkLst>
          <pc:docMk/>
          <pc:sldMk cId="2352540243" sldId="267"/>
        </pc:sldMkLst>
        <pc:spChg chg="mod">
          <ac:chgData name="David Schlund | EWI" userId="00272c2a-d16f-4eb8-86ba-c28bcace438c" providerId="ADAL" clId="{46E1544F-72D8-4254-8935-79928106F321}" dt="2021-04-08T09:14:39.387" v="343" actId="948"/>
          <ac:spMkLst>
            <pc:docMk/>
            <pc:sldMk cId="2352540243" sldId="267"/>
            <ac:spMk id="2" creationId="{95917E3F-4DC6-4597-AC57-747CE74370EF}"/>
          </ac:spMkLst>
        </pc:spChg>
        <pc:graphicFrameChg chg="add mod ord modVis">
          <ac:chgData name="David Schlund | EWI" userId="00272c2a-d16f-4eb8-86ba-c28bcace438c" providerId="ADAL" clId="{46E1544F-72D8-4254-8935-79928106F321}" dt="2021-04-08T09:14:39.440" v="371"/>
          <ac:graphicFrameMkLst>
            <pc:docMk/>
            <pc:sldMk cId="2352540243" sldId="267"/>
            <ac:graphicFrameMk id="5" creationId="{F7992644-84B5-4A72-8004-9D564A80C26B}"/>
          </ac:graphicFrameMkLst>
        </pc:graphicFrameChg>
      </pc:sldChg>
      <pc:sldChg chg="addSp modSp new add mod modClrScheme chgLayout">
        <pc:chgData name="David Schlund | EWI" userId="00272c2a-d16f-4eb8-86ba-c28bcace438c" providerId="ADAL" clId="{46E1544F-72D8-4254-8935-79928106F321}" dt="2021-04-12T15:28:20.559" v="971"/>
        <pc:sldMkLst>
          <pc:docMk/>
          <pc:sldMk cId="2769228880" sldId="270"/>
        </pc:sldMkLst>
        <pc:spChg chg="add mod">
          <ac:chgData name="David Schlund | EWI" userId="00272c2a-d16f-4eb8-86ba-c28bcace438c" providerId="ADAL" clId="{46E1544F-72D8-4254-8935-79928106F321}" dt="2021-04-12T15:28:20.519" v="956" actId="948"/>
          <ac:spMkLst>
            <pc:docMk/>
            <pc:sldMk cId="2769228880" sldId="270"/>
            <ac:spMk id="2" creationId="{80BE4670-6987-4AD1-BD94-03351E33B5AD}"/>
          </ac:spMkLst>
        </pc:spChg>
        <pc:spChg chg="add mod">
          <ac:chgData name="David Schlund | EWI" userId="00272c2a-d16f-4eb8-86ba-c28bcace438c" providerId="ADAL" clId="{46E1544F-72D8-4254-8935-79928106F321}" dt="2021-04-12T15:28:17.842" v="949"/>
          <ac:spMkLst>
            <pc:docMk/>
            <pc:sldMk cId="2769228880" sldId="270"/>
            <ac:spMk id="3" creationId="{5C979546-B20C-4697-A004-D0D23608ACC2}"/>
          </ac:spMkLst>
        </pc:spChg>
        <pc:graphicFrameChg chg="add mod ord modVis">
          <ac:chgData name="David Schlund | EWI" userId="00272c2a-d16f-4eb8-86ba-c28bcace438c" providerId="ADAL" clId="{46E1544F-72D8-4254-8935-79928106F321}" dt="2021-04-12T15:28:20.559" v="971"/>
          <ac:graphicFrameMkLst>
            <pc:docMk/>
            <pc:sldMk cId="2769228880" sldId="270"/>
            <ac:graphicFrameMk id="4" creationId="{D6D76A83-3564-45F8-B5CB-76EE92A9DC81}"/>
          </ac:graphicFrameMkLst>
        </pc:graphicFrameChg>
      </pc:sldChg>
      <pc:sldChg chg="del">
        <pc:chgData name="David Schlund | EWI" userId="00272c2a-d16f-4eb8-86ba-c28bcace438c" providerId="ADAL" clId="{46E1544F-72D8-4254-8935-79928106F321}" dt="2021-04-27T12:29:04.773" v="22475" actId="47"/>
        <pc:sldMkLst>
          <pc:docMk/>
          <pc:sldMk cId="3489497937" sldId="270"/>
        </pc:sldMkLst>
      </pc:sldChg>
      <pc:sldChg chg="addSp delSp modSp new add mod modAnim modNotesTx">
        <pc:chgData name="David Schlund | EWI" userId="00272c2a-d16f-4eb8-86ba-c28bcace438c" providerId="ADAL" clId="{46E1544F-72D8-4254-8935-79928106F321}" dt="2021-04-28T08:47:02.627" v="26515" actId="20577"/>
        <pc:sldMkLst>
          <pc:docMk/>
          <pc:sldMk cId="3182278550" sldId="271"/>
        </pc:sldMkLst>
        <pc:spChg chg="mod ord">
          <ac:chgData name="David Schlund | EWI" userId="00272c2a-d16f-4eb8-86ba-c28bcace438c" providerId="ADAL" clId="{46E1544F-72D8-4254-8935-79928106F321}" dt="2021-04-26T14:56:21.075" v="16528"/>
          <ac:spMkLst>
            <pc:docMk/>
            <pc:sldMk cId="3182278550" sldId="271"/>
            <ac:spMk id="2" creationId="{86FB6454-D977-4264-8971-047BBA0B0378}"/>
          </ac:spMkLst>
        </pc:spChg>
        <pc:spChg chg="del">
          <ac:chgData name="David Schlund | EWI" userId="00272c2a-d16f-4eb8-86ba-c28bcace438c" providerId="ADAL" clId="{46E1544F-72D8-4254-8935-79928106F321}" dt="2021-04-12T15:30:44.223" v="975" actId="478"/>
          <ac:spMkLst>
            <pc:docMk/>
            <pc:sldMk cId="3182278550" sldId="271"/>
            <ac:spMk id="3" creationId="{E11097AD-4684-42FC-AE1D-95DDAF3AFFD3}"/>
          </ac:spMkLst>
        </pc:spChg>
        <pc:spChg chg="add mod topLvl">
          <ac:chgData name="David Schlund | EWI" userId="00272c2a-d16f-4eb8-86ba-c28bcace438c" providerId="ADAL" clId="{46E1544F-72D8-4254-8935-79928106F321}" dt="2021-04-27T13:12:43.267" v="22839" actId="14100"/>
          <ac:spMkLst>
            <pc:docMk/>
            <pc:sldMk cId="3182278550" sldId="271"/>
            <ac:spMk id="4" creationId="{7CDD3EA2-EC45-4583-8A85-225B0FCDAA63}"/>
          </ac:spMkLst>
        </pc:spChg>
        <pc:spChg chg="del">
          <ac:chgData name="David Schlund | EWI" userId="00272c2a-d16f-4eb8-86ba-c28bcace438c" providerId="ADAL" clId="{46E1544F-72D8-4254-8935-79928106F321}" dt="2021-04-12T15:30:43.576" v="974" actId="478"/>
          <ac:spMkLst>
            <pc:docMk/>
            <pc:sldMk cId="3182278550" sldId="271"/>
            <ac:spMk id="4" creationId="{949ECFFA-FAB3-4526-B95A-9E22CD216D22}"/>
          </ac:spMkLst>
        </pc:spChg>
        <pc:spChg chg="add mod">
          <ac:chgData name="David Schlund | EWI" userId="00272c2a-d16f-4eb8-86ba-c28bcace438c" providerId="ADAL" clId="{46E1544F-72D8-4254-8935-79928106F321}" dt="2021-04-26T14:51:04.982" v="16348" actId="165"/>
          <ac:spMkLst>
            <pc:docMk/>
            <pc:sldMk cId="3182278550" sldId="271"/>
            <ac:spMk id="5" creationId="{38602C86-82A5-4982-8CA9-7DD73DCD742C}"/>
          </ac:spMkLst>
        </pc:spChg>
        <pc:spChg chg="add del mod">
          <ac:chgData name="David Schlund | EWI" userId="00272c2a-d16f-4eb8-86ba-c28bcace438c" providerId="ADAL" clId="{46E1544F-72D8-4254-8935-79928106F321}" dt="2021-04-12T15:32:55.071" v="1010" actId="478"/>
          <ac:spMkLst>
            <pc:docMk/>
            <pc:sldMk cId="3182278550" sldId="271"/>
            <ac:spMk id="8" creationId="{8AD66753-2C87-44BD-923F-6D50518C9121}"/>
          </ac:spMkLst>
        </pc:spChg>
        <pc:spChg chg="add mod topLvl">
          <ac:chgData name="David Schlund | EWI" userId="00272c2a-d16f-4eb8-86ba-c28bcace438c" providerId="ADAL" clId="{46E1544F-72D8-4254-8935-79928106F321}" dt="2021-04-27T13:12:46.680" v="22842" actId="313"/>
          <ac:spMkLst>
            <pc:docMk/>
            <pc:sldMk cId="3182278550" sldId="271"/>
            <ac:spMk id="8" creationId="{C2838889-CF3D-4978-A62F-4EF6A95903B2}"/>
          </ac:spMkLst>
        </pc:spChg>
        <pc:spChg chg="add mod ord">
          <ac:chgData name="David Schlund | EWI" userId="00272c2a-d16f-4eb8-86ba-c28bcace438c" providerId="ADAL" clId="{46E1544F-72D8-4254-8935-79928106F321}" dt="2021-04-23T14:07:49.135" v="8713"/>
          <ac:spMkLst>
            <pc:docMk/>
            <pc:sldMk cId="3182278550" sldId="271"/>
            <ac:spMk id="9" creationId="{03A94DFC-06E5-4BCC-B131-5C24851D1F5D}"/>
          </ac:spMkLst>
        </pc:spChg>
        <pc:spChg chg="add mod topLvl">
          <ac:chgData name="David Schlund | EWI" userId="00272c2a-d16f-4eb8-86ba-c28bcace438c" providerId="ADAL" clId="{46E1544F-72D8-4254-8935-79928106F321}" dt="2021-04-27T13:12:59.756" v="22847" actId="14100"/>
          <ac:spMkLst>
            <pc:docMk/>
            <pc:sldMk cId="3182278550" sldId="271"/>
            <ac:spMk id="9" creationId="{F1A40134-8C20-49C6-9163-DA21AEAB7201}"/>
          </ac:spMkLst>
        </pc:spChg>
        <pc:spChg chg="add mod">
          <ac:chgData name="David Schlund | EWI" userId="00272c2a-d16f-4eb8-86ba-c28bcace438c" providerId="ADAL" clId="{46E1544F-72D8-4254-8935-79928106F321}" dt="2021-04-26T14:51:07.563" v="16349" actId="165"/>
          <ac:spMkLst>
            <pc:docMk/>
            <pc:sldMk cId="3182278550" sldId="271"/>
            <ac:spMk id="11" creationId="{EC9AAD65-4735-4DD0-94C7-4BBD49CA559E}"/>
          </ac:spMkLst>
        </pc:spChg>
        <pc:spChg chg="add mod topLvl">
          <ac:chgData name="David Schlund | EWI" userId="00272c2a-d16f-4eb8-86ba-c28bcace438c" providerId="ADAL" clId="{46E1544F-72D8-4254-8935-79928106F321}" dt="2021-04-26T14:51:10.703" v="16350" actId="165"/>
          <ac:spMkLst>
            <pc:docMk/>
            <pc:sldMk cId="3182278550" sldId="271"/>
            <ac:spMk id="12" creationId="{D14B34ED-E15D-4A2D-AC66-EA7F5481DD00}"/>
          </ac:spMkLst>
        </pc:spChg>
        <pc:spChg chg="add mod">
          <ac:chgData name="David Schlund | EWI" userId="00272c2a-d16f-4eb8-86ba-c28bcace438c" providerId="ADAL" clId="{46E1544F-72D8-4254-8935-79928106F321}" dt="2021-04-23T11:37:54.989" v="8454" actId="165"/>
          <ac:spMkLst>
            <pc:docMk/>
            <pc:sldMk cId="3182278550" sldId="271"/>
            <ac:spMk id="14" creationId="{53E117A4-58AE-4960-B459-8A34AAC0E368}"/>
          </ac:spMkLst>
        </pc:spChg>
        <pc:spChg chg="add mod">
          <ac:chgData name="David Schlund | EWI" userId="00272c2a-d16f-4eb8-86ba-c28bcace438c" providerId="ADAL" clId="{46E1544F-72D8-4254-8935-79928106F321}" dt="2021-04-23T11:37:54.989" v="8454" actId="165"/>
          <ac:spMkLst>
            <pc:docMk/>
            <pc:sldMk cId="3182278550" sldId="271"/>
            <ac:spMk id="15" creationId="{50A0B1FA-7E49-4545-BFB3-307B321FBB24}"/>
          </ac:spMkLst>
        </pc:spChg>
        <pc:spChg chg="add del mod">
          <ac:chgData name="David Schlund | EWI" userId="00272c2a-d16f-4eb8-86ba-c28bcace438c" providerId="ADAL" clId="{46E1544F-72D8-4254-8935-79928106F321}" dt="2021-04-26T14:54:24.633" v="16416" actId="478"/>
          <ac:spMkLst>
            <pc:docMk/>
            <pc:sldMk cId="3182278550" sldId="271"/>
            <ac:spMk id="17" creationId="{87C4245F-5785-4E53-A794-CF6F6B7BBC86}"/>
          </ac:spMkLst>
        </pc:spChg>
        <pc:spChg chg="add mod">
          <ac:chgData name="David Schlund | EWI" userId="00272c2a-d16f-4eb8-86ba-c28bcace438c" providerId="ADAL" clId="{46E1544F-72D8-4254-8935-79928106F321}" dt="2021-04-16T07:42:58.910" v="6463"/>
          <ac:spMkLst>
            <pc:docMk/>
            <pc:sldMk cId="3182278550" sldId="271"/>
            <ac:spMk id="18" creationId="{0D214D7B-C67D-477F-8DD6-26F13E9F5EC3}"/>
          </ac:spMkLst>
        </pc:spChg>
        <pc:spChg chg="add del mod">
          <ac:chgData name="David Schlund | EWI" userId="00272c2a-d16f-4eb8-86ba-c28bcace438c" providerId="ADAL" clId="{46E1544F-72D8-4254-8935-79928106F321}" dt="2021-04-12T15:34:35.052" v="1022" actId="478"/>
          <ac:spMkLst>
            <pc:docMk/>
            <pc:sldMk cId="3182278550" sldId="271"/>
            <ac:spMk id="21" creationId="{74FE74CD-3AA1-48DA-BA01-5D95C6AFE6C7}"/>
          </ac:spMkLst>
        </pc:spChg>
        <pc:spChg chg="del mod ord">
          <ac:chgData name="David Schlund | EWI" userId="00272c2a-d16f-4eb8-86ba-c28bcace438c" providerId="ADAL" clId="{46E1544F-72D8-4254-8935-79928106F321}" dt="2021-04-26T14:55:37.136" v="16430" actId="478"/>
          <ac:spMkLst>
            <pc:docMk/>
            <pc:sldMk cId="3182278550" sldId="271"/>
            <ac:spMk id="21" creationId="{C577961C-E939-4D71-BC45-8EFCAC4DBCFA}"/>
          </ac:spMkLst>
        </pc:spChg>
        <pc:spChg chg="del mod ord">
          <ac:chgData name="David Schlund | EWI" userId="00272c2a-d16f-4eb8-86ba-c28bcace438c" providerId="ADAL" clId="{46E1544F-72D8-4254-8935-79928106F321}" dt="2021-04-26T14:55:36.273" v="16429" actId="478"/>
          <ac:spMkLst>
            <pc:docMk/>
            <pc:sldMk cId="3182278550" sldId="271"/>
            <ac:spMk id="22" creationId="{3576E66A-F0F7-409A-9FFA-A0512B6D0BD3}"/>
          </ac:spMkLst>
        </pc:spChg>
        <pc:spChg chg="mod">
          <ac:chgData name="David Schlund | EWI" userId="00272c2a-d16f-4eb8-86ba-c28bcace438c" providerId="ADAL" clId="{46E1544F-72D8-4254-8935-79928106F321}" dt="2021-04-27T15:28:23.627" v="24759" actId="1036"/>
          <ac:spMkLst>
            <pc:docMk/>
            <pc:sldMk cId="3182278550" sldId="271"/>
            <ac:spMk id="23" creationId="{50C385E6-9639-4272-8AA6-FEC580A24124}"/>
          </ac:spMkLst>
        </pc:spChg>
        <pc:spChg chg="add del mod">
          <ac:chgData name="David Schlund | EWI" userId="00272c2a-d16f-4eb8-86ba-c28bcace438c" providerId="ADAL" clId="{46E1544F-72D8-4254-8935-79928106F321}" dt="2021-04-27T11:07:35.626" v="19184" actId="478"/>
          <ac:spMkLst>
            <pc:docMk/>
            <pc:sldMk cId="3182278550" sldId="271"/>
            <ac:spMk id="25" creationId="{748A9CF4-4C73-492F-AAE8-607599E189E3}"/>
          </ac:spMkLst>
        </pc:spChg>
        <pc:spChg chg="del">
          <ac:chgData name="David Schlund | EWI" userId="00272c2a-d16f-4eb8-86ba-c28bcace438c" providerId="ADAL" clId="{46E1544F-72D8-4254-8935-79928106F321}" dt="2021-04-23T11:36:29.606" v="8445" actId="478"/>
          <ac:spMkLst>
            <pc:docMk/>
            <pc:sldMk cId="3182278550" sldId="271"/>
            <ac:spMk id="25" creationId="{A0F9ABAB-A3D0-40C3-BBEA-A2864CDA07D4}"/>
          </ac:spMkLst>
        </pc:spChg>
        <pc:spChg chg="add mod">
          <ac:chgData name="David Schlund | EWI" userId="00272c2a-d16f-4eb8-86ba-c28bcace438c" providerId="ADAL" clId="{46E1544F-72D8-4254-8935-79928106F321}" dt="2021-04-16T07:42:51.321" v="6445" actId="255"/>
          <ac:spMkLst>
            <pc:docMk/>
            <pc:sldMk cId="3182278550" sldId="271"/>
            <ac:spMk id="25" creationId="{D2E4CA28-9085-49C1-908F-2493EEDBA0B5}"/>
          </ac:spMkLst>
        </pc:spChg>
        <pc:spChg chg="add mod">
          <ac:chgData name="David Schlund | EWI" userId="00272c2a-d16f-4eb8-86ba-c28bcace438c" providerId="ADAL" clId="{46E1544F-72D8-4254-8935-79928106F321}" dt="2021-04-27T15:28:23.627" v="24759" actId="1036"/>
          <ac:spMkLst>
            <pc:docMk/>
            <pc:sldMk cId="3182278550" sldId="271"/>
            <ac:spMk id="26" creationId="{80B8816B-FF78-4768-B510-AB9B28456979}"/>
          </ac:spMkLst>
        </pc:spChg>
        <pc:spChg chg="add del mod">
          <ac:chgData name="David Schlund | EWI" userId="00272c2a-d16f-4eb8-86ba-c28bcace438c" providerId="ADAL" clId="{46E1544F-72D8-4254-8935-79928106F321}" dt="2021-04-27T15:28:46.224" v="24765" actId="478"/>
          <ac:spMkLst>
            <pc:docMk/>
            <pc:sldMk cId="3182278550" sldId="271"/>
            <ac:spMk id="27" creationId="{EBFC92E1-E71F-47C7-AD2E-F7ACF2BDBCCF}"/>
          </ac:spMkLst>
        </pc:spChg>
        <pc:spChg chg="add del mod">
          <ac:chgData name="David Schlund | EWI" userId="00272c2a-d16f-4eb8-86ba-c28bcace438c" providerId="ADAL" clId="{46E1544F-72D8-4254-8935-79928106F321}" dt="2021-04-27T15:28:46.768" v="24766" actId="478"/>
          <ac:spMkLst>
            <pc:docMk/>
            <pc:sldMk cId="3182278550" sldId="271"/>
            <ac:spMk id="28" creationId="{AA3E12A8-63FE-498D-8655-5AB1D4D7A62F}"/>
          </ac:spMkLst>
        </pc:spChg>
        <pc:spChg chg="mod ord topLvl">
          <ac:chgData name="David Schlund | EWI" userId="00272c2a-d16f-4eb8-86ba-c28bcace438c" providerId="ADAL" clId="{46E1544F-72D8-4254-8935-79928106F321}" dt="2021-04-23T14:08:15.748" v="8750" actId="164"/>
          <ac:spMkLst>
            <pc:docMk/>
            <pc:sldMk cId="3182278550" sldId="271"/>
            <ac:spMk id="35" creationId="{4A79F6A7-1726-4EE4-85F0-AD3D5355B0DC}"/>
          </ac:spMkLst>
        </pc:spChg>
        <pc:spChg chg="mod ord topLvl">
          <ac:chgData name="David Schlund | EWI" userId="00272c2a-d16f-4eb8-86ba-c28bcace438c" providerId="ADAL" clId="{46E1544F-72D8-4254-8935-79928106F321}" dt="2021-04-23T14:08:34.479" v="8786" actId="164"/>
          <ac:spMkLst>
            <pc:docMk/>
            <pc:sldMk cId="3182278550" sldId="271"/>
            <ac:spMk id="39" creationId="{BF827ABD-6B6E-4210-82DF-69B5AD1E4FBC}"/>
          </ac:spMkLst>
        </pc:spChg>
        <pc:spChg chg="mod ord">
          <ac:chgData name="David Schlund | EWI" userId="00272c2a-d16f-4eb8-86ba-c28bcace438c" providerId="ADAL" clId="{46E1544F-72D8-4254-8935-79928106F321}" dt="2021-04-27T15:28:42.865" v="24764" actId="20577"/>
          <ac:spMkLst>
            <pc:docMk/>
            <pc:sldMk cId="3182278550" sldId="271"/>
            <ac:spMk id="43" creationId="{1BC315BD-D699-4BF7-BBD6-2FD7678ED7AF}"/>
          </ac:spMkLst>
        </pc:spChg>
        <pc:spChg chg="add del">
          <ac:chgData name="David Schlund | EWI" userId="00272c2a-d16f-4eb8-86ba-c28bcace438c" providerId="ADAL" clId="{46E1544F-72D8-4254-8935-79928106F321}" dt="2021-04-23T11:36:26.537" v="8443" actId="21"/>
          <ac:spMkLst>
            <pc:docMk/>
            <pc:sldMk cId="3182278550" sldId="271"/>
            <ac:spMk id="44" creationId="{9686652B-3270-41E7-A13E-B3908F57BF76}"/>
          </ac:spMkLst>
        </pc:spChg>
        <pc:spChg chg="del mod topLvl">
          <ac:chgData name="David Schlund | EWI" userId="00272c2a-d16f-4eb8-86ba-c28bcace438c" providerId="ADAL" clId="{46E1544F-72D8-4254-8935-79928106F321}" dt="2021-04-23T14:09:22.873" v="8797" actId="478"/>
          <ac:spMkLst>
            <pc:docMk/>
            <pc:sldMk cId="3182278550" sldId="271"/>
            <ac:spMk id="45" creationId="{7A3327B1-E408-48EF-94E2-A403003EAAC1}"/>
          </ac:spMkLst>
        </pc:spChg>
        <pc:grpChg chg="del mod">
          <ac:chgData name="David Schlund | EWI" userId="00272c2a-d16f-4eb8-86ba-c28bcace438c" providerId="ADAL" clId="{46E1544F-72D8-4254-8935-79928106F321}" dt="2021-04-23T11:37:54.989" v="8454" actId="165"/>
          <ac:grpSpMkLst>
            <pc:docMk/>
            <pc:sldMk cId="3182278550" sldId="271"/>
            <ac:grpSpMk id="4" creationId="{0B5E7174-E610-4BFA-8675-8F12CC22B517}"/>
          </ac:grpSpMkLst>
        </pc:grpChg>
        <pc:grpChg chg="add mod">
          <ac:chgData name="David Schlund | EWI" userId="00272c2a-d16f-4eb8-86ba-c28bcace438c" providerId="ADAL" clId="{46E1544F-72D8-4254-8935-79928106F321}" dt="2021-04-26T14:51:58.988" v="16374" actId="12788"/>
          <ac:grpSpMkLst>
            <pc:docMk/>
            <pc:sldMk cId="3182278550" sldId="271"/>
            <ac:grpSpMk id="6" creationId="{29E127A8-6031-4749-8C7B-6FF111E6A688}"/>
          </ac:grpSpMkLst>
        </pc:grpChg>
        <pc:grpChg chg="add mod">
          <ac:chgData name="David Schlund | EWI" userId="00272c2a-d16f-4eb8-86ba-c28bcace438c" providerId="ADAL" clId="{46E1544F-72D8-4254-8935-79928106F321}" dt="2021-04-27T13:12:57.172" v="22846" actId="14100"/>
          <ac:grpSpMkLst>
            <pc:docMk/>
            <pc:sldMk cId="3182278550" sldId="271"/>
            <ac:grpSpMk id="10" creationId="{F7AB5118-5D0C-431B-A511-D802E433CDAF}"/>
          </ac:grpSpMkLst>
        </pc:grpChg>
        <pc:grpChg chg="add mod">
          <ac:chgData name="David Schlund | EWI" userId="00272c2a-d16f-4eb8-86ba-c28bcace438c" providerId="ADAL" clId="{46E1544F-72D8-4254-8935-79928106F321}" dt="2021-04-26T14:51:58.988" v="16374" actId="12788"/>
          <ac:grpSpMkLst>
            <pc:docMk/>
            <pc:sldMk cId="3182278550" sldId="271"/>
            <ac:grpSpMk id="14" creationId="{7EFA6080-2198-491A-A444-7B8D0D6B84A0}"/>
          </ac:grpSpMkLst>
        </pc:grpChg>
        <pc:grpChg chg="add del mod ord topLvl">
          <ac:chgData name="David Schlund | EWI" userId="00272c2a-d16f-4eb8-86ba-c28bcace438c" providerId="ADAL" clId="{46E1544F-72D8-4254-8935-79928106F321}" dt="2021-04-23T14:14:49.375" v="8933" actId="21"/>
          <ac:grpSpMkLst>
            <pc:docMk/>
            <pc:sldMk cId="3182278550" sldId="271"/>
            <ac:grpSpMk id="16" creationId="{12D60377-B139-4877-A434-E7CFE12DE07B}"/>
          </ac:grpSpMkLst>
        </pc:grpChg>
        <pc:grpChg chg="add mod topLvl">
          <ac:chgData name="David Schlund | EWI" userId="00272c2a-d16f-4eb8-86ba-c28bcace438c" providerId="ADAL" clId="{46E1544F-72D8-4254-8935-79928106F321}" dt="2021-04-26T14:51:41.431" v="16369" actId="164"/>
          <ac:grpSpMkLst>
            <pc:docMk/>
            <pc:sldMk cId="3182278550" sldId="271"/>
            <ac:grpSpMk id="16" creationId="{FBB3D6D0-1D5A-4992-A878-8CFF6701A066}"/>
          </ac:grpSpMkLst>
        </pc:grpChg>
        <pc:grpChg chg="add del mod ord topLvl">
          <ac:chgData name="David Schlund | EWI" userId="00272c2a-d16f-4eb8-86ba-c28bcace438c" providerId="ADAL" clId="{46E1544F-72D8-4254-8935-79928106F321}" dt="2021-04-23T14:14:49.375" v="8933" actId="21"/>
          <ac:grpSpMkLst>
            <pc:docMk/>
            <pc:sldMk cId="3182278550" sldId="271"/>
            <ac:grpSpMk id="17" creationId="{4B5B6772-A780-496E-8B5B-980831AB8BA7}"/>
          </ac:grpSpMkLst>
        </pc:grpChg>
        <pc:grpChg chg="add del mod topLvl">
          <ac:chgData name="David Schlund | EWI" userId="00272c2a-d16f-4eb8-86ba-c28bcace438c" providerId="ADAL" clId="{46E1544F-72D8-4254-8935-79928106F321}" dt="2021-04-25T10:49:03.951" v="12483" actId="165"/>
          <ac:grpSpMkLst>
            <pc:docMk/>
            <pc:sldMk cId="3182278550" sldId="271"/>
            <ac:grpSpMk id="17" creationId="{DA252A14-97DB-4F80-9EB1-90C4FE9117DE}"/>
          </ac:grpSpMkLst>
        </pc:grpChg>
        <pc:grpChg chg="add mod topLvl">
          <ac:chgData name="David Schlund | EWI" userId="00272c2a-d16f-4eb8-86ba-c28bcace438c" providerId="ADAL" clId="{46E1544F-72D8-4254-8935-79928106F321}" dt="2021-04-26T14:51:48.097" v="16371" actId="164"/>
          <ac:grpSpMkLst>
            <pc:docMk/>
            <pc:sldMk cId="3182278550" sldId="271"/>
            <ac:grpSpMk id="18" creationId="{8A8D9EFD-04AC-49F0-B4CD-6D5703DF8FE3}"/>
          </ac:grpSpMkLst>
        </pc:grpChg>
        <pc:grpChg chg="add del mod">
          <ac:chgData name="David Schlund | EWI" userId="00272c2a-d16f-4eb8-86ba-c28bcace438c" providerId="ADAL" clId="{46E1544F-72D8-4254-8935-79928106F321}" dt="2021-04-26T14:51:04.982" v="16348" actId="165"/>
          <ac:grpSpMkLst>
            <pc:docMk/>
            <pc:sldMk cId="3182278550" sldId="271"/>
            <ac:grpSpMk id="19" creationId="{A464B8E8-B57F-4359-B52B-600E124C97C1}"/>
          </ac:grpSpMkLst>
        </pc:grpChg>
        <pc:grpChg chg="add del mod">
          <ac:chgData name="David Schlund | EWI" userId="00272c2a-d16f-4eb8-86ba-c28bcace438c" providerId="ADAL" clId="{46E1544F-72D8-4254-8935-79928106F321}" dt="2021-04-26T14:51:07.563" v="16349" actId="165"/>
          <ac:grpSpMkLst>
            <pc:docMk/>
            <pc:sldMk cId="3182278550" sldId="271"/>
            <ac:grpSpMk id="20" creationId="{978228A1-6C20-4EB8-8DD7-6C6DE8A70DEA}"/>
          </ac:grpSpMkLst>
        </pc:grpChg>
        <pc:grpChg chg="add del mod">
          <ac:chgData name="David Schlund | EWI" userId="00272c2a-d16f-4eb8-86ba-c28bcace438c" providerId="ADAL" clId="{46E1544F-72D8-4254-8935-79928106F321}" dt="2021-04-25T10:48:53.039" v="12481" actId="165"/>
          <ac:grpSpMkLst>
            <pc:docMk/>
            <pc:sldMk cId="3182278550" sldId="271"/>
            <ac:grpSpMk id="23" creationId="{3BD5EBF1-B985-4D00-A221-F6FADDBF6B29}"/>
          </ac:grpSpMkLst>
        </pc:grpChg>
        <pc:grpChg chg="add mod topLvl">
          <ac:chgData name="David Schlund | EWI" userId="00272c2a-d16f-4eb8-86ba-c28bcace438c" providerId="ADAL" clId="{46E1544F-72D8-4254-8935-79928106F321}" dt="2021-04-26T14:51:54.327" v="16373" actId="164"/>
          <ac:grpSpMkLst>
            <pc:docMk/>
            <pc:sldMk cId="3182278550" sldId="271"/>
            <ac:grpSpMk id="24" creationId="{AECE4332-8BF4-4423-B11B-569ACE3791B4}"/>
          </ac:grpSpMkLst>
        </pc:grpChg>
        <pc:grpChg chg="add del mod">
          <ac:chgData name="David Schlund | EWI" userId="00272c2a-d16f-4eb8-86ba-c28bcace438c" providerId="ADAL" clId="{46E1544F-72D8-4254-8935-79928106F321}" dt="2021-04-26T14:51:10.703" v="16350" actId="165"/>
          <ac:grpSpMkLst>
            <pc:docMk/>
            <pc:sldMk cId="3182278550" sldId="271"/>
            <ac:grpSpMk id="25" creationId="{87801C91-4AAC-41DB-8F93-ED8A13A87C39}"/>
          </ac:grpSpMkLst>
        </pc:grpChg>
        <pc:grpChg chg="add del mod ord">
          <ac:chgData name="David Schlund | EWI" userId="00272c2a-d16f-4eb8-86ba-c28bcace438c" providerId="ADAL" clId="{46E1544F-72D8-4254-8935-79928106F321}" dt="2021-04-23T14:14:49.375" v="8933" actId="21"/>
          <ac:grpSpMkLst>
            <pc:docMk/>
            <pc:sldMk cId="3182278550" sldId="271"/>
            <ac:grpSpMk id="30" creationId="{C4B7DF08-44D9-4F23-A480-B72161EFC583}"/>
          </ac:grpSpMkLst>
        </pc:grpChg>
        <pc:grpChg chg="add del mod ord">
          <ac:chgData name="David Schlund | EWI" userId="00272c2a-d16f-4eb8-86ba-c28bcace438c" providerId="ADAL" clId="{46E1544F-72D8-4254-8935-79928106F321}" dt="2021-04-23T14:14:49.375" v="8933" actId="21"/>
          <ac:grpSpMkLst>
            <pc:docMk/>
            <pc:sldMk cId="3182278550" sldId="271"/>
            <ac:grpSpMk id="31" creationId="{1DC766C4-44F2-46E7-B63B-28A44C4A3AB5}"/>
          </ac:grpSpMkLst>
        </pc:grpChg>
        <pc:grpChg chg="add del mod">
          <ac:chgData name="David Schlund | EWI" userId="00272c2a-d16f-4eb8-86ba-c28bcace438c" providerId="ADAL" clId="{46E1544F-72D8-4254-8935-79928106F321}" dt="2021-04-23T14:14:49.375" v="8933" actId="21"/>
          <ac:grpSpMkLst>
            <pc:docMk/>
            <pc:sldMk cId="3182278550" sldId="271"/>
            <ac:grpSpMk id="32" creationId="{8AAE02EE-B8AE-45A7-A505-73164A41149E}"/>
          </ac:grpSpMkLst>
        </pc:grpChg>
        <pc:grpChg chg="add del mod">
          <ac:chgData name="David Schlund | EWI" userId="00272c2a-d16f-4eb8-86ba-c28bcace438c" providerId="ADAL" clId="{46E1544F-72D8-4254-8935-79928106F321}" dt="2021-04-23T14:07:53.874" v="8716" actId="478"/>
          <ac:grpSpMkLst>
            <pc:docMk/>
            <pc:sldMk cId="3182278550" sldId="271"/>
            <ac:grpSpMk id="34" creationId="{1CE0D2B6-C246-46B0-8089-139601BFDFBE}"/>
          </ac:grpSpMkLst>
        </pc:grpChg>
        <pc:grpChg chg="add del mod">
          <ac:chgData name="David Schlund | EWI" userId="00272c2a-d16f-4eb8-86ba-c28bcace438c" providerId="ADAL" clId="{46E1544F-72D8-4254-8935-79928106F321}" dt="2021-04-23T14:08:20.921" v="8754" actId="478"/>
          <ac:grpSpMkLst>
            <pc:docMk/>
            <pc:sldMk cId="3182278550" sldId="271"/>
            <ac:grpSpMk id="38" creationId="{F627F0CC-CBF3-42C0-BE6C-E66F793AEC56}"/>
          </ac:grpSpMkLst>
        </pc:grpChg>
        <pc:grpChg chg="add del mod">
          <ac:chgData name="David Schlund | EWI" userId="00272c2a-d16f-4eb8-86ba-c28bcace438c" providerId="ADAL" clId="{46E1544F-72D8-4254-8935-79928106F321}" dt="2021-04-23T14:09:22.873" v="8797" actId="478"/>
          <ac:grpSpMkLst>
            <pc:docMk/>
            <pc:sldMk cId="3182278550" sldId="271"/>
            <ac:grpSpMk id="42" creationId="{B6E93684-8E10-44F0-825A-2EB43918E418}"/>
          </ac:grpSpMkLst>
        </pc:grpChg>
        <pc:graphicFrameChg chg="add mod ord modVis">
          <ac:chgData name="David Schlund | EWI" userId="00272c2a-d16f-4eb8-86ba-c28bcace438c" providerId="ADAL" clId="{46E1544F-72D8-4254-8935-79928106F321}" dt="2021-04-26T14:56:21.091" v="16530"/>
          <ac:graphicFrameMkLst>
            <pc:docMk/>
            <pc:sldMk cId="3182278550" sldId="271"/>
            <ac:graphicFrameMk id="3" creationId="{B9FE5584-DFBC-4BE3-AD6C-3573356E2819}"/>
          </ac:graphicFrameMkLst>
        </pc:graphicFrameChg>
        <pc:picChg chg="add del mod">
          <ac:chgData name="David Schlund | EWI" userId="00272c2a-d16f-4eb8-86ba-c28bcace438c" providerId="ADAL" clId="{46E1544F-72D8-4254-8935-79928106F321}" dt="2021-04-12T15:32:38.351" v="979" actId="478"/>
          <ac:picMkLst>
            <pc:docMk/>
            <pc:sldMk cId="3182278550" sldId="271"/>
            <ac:picMk id="5" creationId="{0632BC23-DC33-49A4-A629-068C36326AAA}"/>
          </ac:picMkLst>
        </pc:picChg>
        <pc:picChg chg="add mod">
          <ac:chgData name="David Schlund | EWI" userId="00272c2a-d16f-4eb8-86ba-c28bcace438c" providerId="ADAL" clId="{46E1544F-72D8-4254-8935-79928106F321}" dt="2021-04-23T11:37:54.989" v="8454" actId="165"/>
          <ac:picMkLst>
            <pc:docMk/>
            <pc:sldMk cId="3182278550" sldId="271"/>
            <ac:picMk id="6" creationId="{1F8DB669-7BC8-4552-821A-F2498C25196B}"/>
          </ac:picMkLst>
        </pc:picChg>
        <pc:picChg chg="add mod">
          <ac:chgData name="David Schlund | EWI" userId="00272c2a-d16f-4eb8-86ba-c28bcace438c" providerId="ADAL" clId="{46E1544F-72D8-4254-8935-79928106F321}" dt="2021-04-23T11:37:54.989" v="8454" actId="165"/>
          <ac:picMkLst>
            <pc:docMk/>
            <pc:sldMk cId="3182278550" sldId="271"/>
            <ac:picMk id="7" creationId="{AC9BDB6A-8770-46E9-ADC6-783C02684B1F}"/>
          </ac:picMkLst>
        </pc:picChg>
        <pc:picChg chg="add mod">
          <ac:chgData name="David Schlund | EWI" userId="00272c2a-d16f-4eb8-86ba-c28bcace438c" providerId="ADAL" clId="{46E1544F-72D8-4254-8935-79928106F321}" dt="2021-04-26T14:51:07.563" v="16349" actId="165"/>
          <ac:picMkLst>
            <pc:docMk/>
            <pc:sldMk cId="3182278550" sldId="271"/>
            <ac:picMk id="7" creationId="{FA7C76EF-CE5E-452C-9273-F722F1DC2E55}"/>
          </ac:picMkLst>
        </pc:picChg>
        <pc:picChg chg="add del mod">
          <ac:chgData name="David Schlund | EWI" userId="00272c2a-d16f-4eb8-86ba-c28bcace438c" providerId="ADAL" clId="{46E1544F-72D8-4254-8935-79928106F321}" dt="2021-04-12T15:32:52.821" v="1009" actId="478"/>
          <ac:picMkLst>
            <pc:docMk/>
            <pc:sldMk cId="3182278550" sldId="271"/>
            <ac:picMk id="9" creationId="{63FFA9D3-2A9B-402E-AF8F-122669071221}"/>
          </ac:picMkLst>
        </pc:picChg>
        <pc:picChg chg="add del mod">
          <ac:chgData name="David Schlund | EWI" userId="00272c2a-d16f-4eb8-86ba-c28bcace438c" providerId="ADAL" clId="{46E1544F-72D8-4254-8935-79928106F321}" dt="2021-04-12T15:32:55.071" v="1010" actId="478"/>
          <ac:picMkLst>
            <pc:docMk/>
            <pc:sldMk cId="3182278550" sldId="271"/>
            <ac:picMk id="10" creationId="{CA5C5640-4B9D-4E14-9551-492FA1462E06}"/>
          </ac:picMkLst>
        </pc:picChg>
        <pc:picChg chg="add mod">
          <ac:chgData name="David Schlund | EWI" userId="00272c2a-d16f-4eb8-86ba-c28bcace438c" providerId="ADAL" clId="{46E1544F-72D8-4254-8935-79928106F321}" dt="2021-04-23T11:37:54.989" v="8454" actId="165"/>
          <ac:picMkLst>
            <pc:docMk/>
            <pc:sldMk cId="3182278550" sldId="271"/>
            <ac:picMk id="11" creationId="{F44A178E-F20C-4EB3-95FE-57AF31D08048}"/>
          </ac:picMkLst>
        </pc:picChg>
        <pc:picChg chg="add mod">
          <ac:chgData name="David Schlund | EWI" userId="00272c2a-d16f-4eb8-86ba-c28bcace438c" providerId="ADAL" clId="{46E1544F-72D8-4254-8935-79928106F321}" dt="2021-04-23T11:37:54.989" v="8454" actId="165"/>
          <ac:picMkLst>
            <pc:docMk/>
            <pc:sldMk cId="3182278550" sldId="271"/>
            <ac:picMk id="12" creationId="{19722060-6F7A-4B92-83F2-AE01721A3401}"/>
          </ac:picMkLst>
        </pc:picChg>
        <pc:picChg chg="add mod topLvl">
          <ac:chgData name="David Schlund | EWI" userId="00272c2a-d16f-4eb8-86ba-c28bcace438c" providerId="ADAL" clId="{46E1544F-72D8-4254-8935-79928106F321}" dt="2021-04-26T14:51:10.703" v="16350" actId="165"/>
          <ac:picMkLst>
            <pc:docMk/>
            <pc:sldMk cId="3182278550" sldId="271"/>
            <ac:picMk id="13" creationId="{F3D56DBB-2993-4B6F-A72E-2968C7F283D9}"/>
          </ac:picMkLst>
        </pc:picChg>
        <pc:picChg chg="add mod">
          <ac:chgData name="David Schlund | EWI" userId="00272c2a-d16f-4eb8-86ba-c28bcace438c" providerId="ADAL" clId="{46E1544F-72D8-4254-8935-79928106F321}" dt="2021-04-26T14:51:04.982" v="16348" actId="165"/>
          <ac:picMkLst>
            <pc:docMk/>
            <pc:sldMk cId="3182278550" sldId="271"/>
            <ac:picMk id="15" creationId="{4B0C61CF-FC35-474E-A22F-E2F2174A98D0}"/>
          </ac:picMkLst>
        </pc:picChg>
        <pc:picChg chg="add mod ord">
          <ac:chgData name="David Schlund | EWI" userId="00272c2a-d16f-4eb8-86ba-c28bcace438c" providerId="ADAL" clId="{46E1544F-72D8-4254-8935-79928106F321}" dt="2021-04-23T14:08:34.479" v="8786" actId="164"/>
          <ac:picMkLst>
            <pc:docMk/>
            <pc:sldMk cId="3182278550" sldId="271"/>
            <ac:picMk id="18" creationId="{3A682E22-E4D0-4EE8-9182-01E78E03B06D}"/>
          </ac:picMkLst>
        </pc:picChg>
        <pc:picChg chg="add del mod">
          <ac:chgData name="David Schlund | EWI" userId="00272c2a-d16f-4eb8-86ba-c28bcace438c" providerId="ADAL" clId="{46E1544F-72D8-4254-8935-79928106F321}" dt="2021-04-23T11:37:39.484" v="8447" actId="478"/>
          <ac:picMkLst>
            <pc:docMk/>
            <pc:sldMk cId="3182278550" sldId="271"/>
            <ac:picMk id="23" creationId="{899F586A-0844-459F-8CF4-E1F7AAD14F6F}"/>
          </ac:picMkLst>
        </pc:picChg>
        <pc:picChg chg="add del mod ord topLvl">
          <ac:chgData name="David Schlund | EWI" userId="00272c2a-d16f-4eb8-86ba-c28bcace438c" providerId="ADAL" clId="{46E1544F-72D8-4254-8935-79928106F321}" dt="2021-04-23T14:07:12.774" v="8696" actId="478"/>
          <ac:picMkLst>
            <pc:docMk/>
            <pc:sldMk cId="3182278550" sldId="271"/>
            <ac:picMk id="24" creationId="{C67DF2E4-DD2E-444E-8D61-99CAF70A7334}"/>
          </ac:picMkLst>
        </pc:picChg>
        <pc:picChg chg="add mod ord">
          <ac:chgData name="David Schlund | EWI" userId="00272c2a-d16f-4eb8-86ba-c28bcace438c" providerId="ADAL" clId="{46E1544F-72D8-4254-8935-79928106F321}" dt="2021-04-23T14:08:15.748" v="8750" actId="164"/>
          <ac:picMkLst>
            <pc:docMk/>
            <pc:sldMk cId="3182278550" sldId="271"/>
            <ac:picMk id="27" creationId="{07BFB0C1-24D0-4628-8AB7-F2D1A66302EA}"/>
          </ac:picMkLst>
        </pc:picChg>
        <pc:picChg chg="add mod">
          <ac:chgData name="David Schlund | EWI" userId="00272c2a-d16f-4eb8-86ba-c28bcace438c" providerId="ADAL" clId="{46E1544F-72D8-4254-8935-79928106F321}" dt="2021-04-23T14:07:49.135" v="8713"/>
          <ac:picMkLst>
            <pc:docMk/>
            <pc:sldMk cId="3182278550" sldId="271"/>
            <ac:picMk id="29" creationId="{E83F40A1-A7A6-4817-B34C-4EBC3D578F67}"/>
          </ac:picMkLst>
        </pc:picChg>
        <pc:picChg chg="add mod">
          <ac:chgData name="David Schlund | EWI" userId="00272c2a-d16f-4eb8-86ba-c28bcace438c" providerId="ADAL" clId="{46E1544F-72D8-4254-8935-79928106F321}" dt="2021-04-23T14:07:49.135" v="8713"/>
          <ac:picMkLst>
            <pc:docMk/>
            <pc:sldMk cId="3182278550" sldId="271"/>
            <ac:picMk id="33" creationId="{01F17E29-CBFE-4D60-8009-F6824FE298C0}"/>
          </ac:picMkLst>
        </pc:picChg>
        <pc:picChg chg="del mod topLvl">
          <ac:chgData name="David Schlund | EWI" userId="00272c2a-d16f-4eb8-86ba-c28bcace438c" providerId="ADAL" clId="{46E1544F-72D8-4254-8935-79928106F321}" dt="2021-04-23T14:07:53.874" v="8716" actId="478"/>
          <ac:picMkLst>
            <pc:docMk/>
            <pc:sldMk cId="3182278550" sldId="271"/>
            <ac:picMk id="36" creationId="{5C926D38-F48B-41CB-A496-2A5691756ABA}"/>
          </ac:picMkLst>
        </pc:picChg>
        <pc:picChg chg="del mod topLvl">
          <ac:chgData name="David Schlund | EWI" userId="00272c2a-d16f-4eb8-86ba-c28bcace438c" providerId="ADAL" clId="{46E1544F-72D8-4254-8935-79928106F321}" dt="2021-04-23T14:08:20.921" v="8754" actId="478"/>
          <ac:picMkLst>
            <pc:docMk/>
            <pc:sldMk cId="3182278550" sldId="271"/>
            <ac:picMk id="40" creationId="{8803E432-C88B-449A-BB77-B243CD053925}"/>
          </ac:picMkLst>
        </pc:picChg>
        <pc:picChg chg="del mod topLvl">
          <ac:chgData name="David Schlund | EWI" userId="00272c2a-d16f-4eb8-86ba-c28bcace438c" providerId="ADAL" clId="{46E1544F-72D8-4254-8935-79928106F321}" dt="2021-04-23T14:09:37.678" v="8799" actId="478"/>
          <ac:picMkLst>
            <pc:docMk/>
            <pc:sldMk cId="3182278550" sldId="271"/>
            <ac:picMk id="46" creationId="{3C1C3658-B72F-4D95-8ACE-A34D07D46898}"/>
          </ac:picMkLst>
        </pc:picChg>
        <pc:cxnChg chg="add del mod ord">
          <ac:chgData name="David Schlund | EWI" userId="00272c2a-d16f-4eb8-86ba-c28bcace438c" providerId="ADAL" clId="{46E1544F-72D8-4254-8935-79928106F321}" dt="2021-04-23T14:14:49.375" v="8933" actId="21"/>
          <ac:cxnSpMkLst>
            <pc:docMk/>
            <pc:sldMk cId="3182278550" sldId="271"/>
            <ac:cxnSpMk id="8" creationId="{ED70FAE5-AB26-4104-8F82-46BEBFE41055}"/>
          </ac:cxnSpMkLst>
        </pc:cxnChg>
        <pc:cxnChg chg="add mod">
          <ac:chgData name="David Schlund | EWI" userId="00272c2a-d16f-4eb8-86ba-c28bcace438c" providerId="ADAL" clId="{46E1544F-72D8-4254-8935-79928106F321}" dt="2021-04-23T14:14:49.375" v="8933" actId="21"/>
          <ac:cxnSpMkLst>
            <pc:docMk/>
            <pc:sldMk cId="3182278550" sldId="271"/>
            <ac:cxnSpMk id="13" creationId="{857C2D20-FC04-4A76-8349-0E3CA5CF0789}"/>
          </ac:cxnSpMkLst>
        </pc:cxnChg>
        <pc:cxnChg chg="add del mod">
          <ac:chgData name="David Schlund | EWI" userId="00272c2a-d16f-4eb8-86ba-c28bcace438c" providerId="ADAL" clId="{46E1544F-72D8-4254-8935-79928106F321}" dt="2021-04-23T11:37:42.526" v="8448" actId="478"/>
          <ac:cxnSpMkLst>
            <pc:docMk/>
            <pc:sldMk cId="3182278550" sldId="271"/>
            <ac:cxnSpMk id="19" creationId="{A9614250-5BE8-48B6-8012-138B37EAC37A}"/>
          </ac:cxnSpMkLst>
        </pc:cxnChg>
        <pc:cxnChg chg="add del mod">
          <ac:chgData name="David Schlund | EWI" userId="00272c2a-d16f-4eb8-86ba-c28bcace438c" providerId="ADAL" clId="{46E1544F-72D8-4254-8935-79928106F321}" dt="2021-04-23T11:37:46.733" v="8451" actId="478"/>
          <ac:cxnSpMkLst>
            <pc:docMk/>
            <pc:sldMk cId="3182278550" sldId="271"/>
            <ac:cxnSpMk id="20" creationId="{066F775A-642E-4E99-948D-6D242EDC5E9B}"/>
          </ac:cxnSpMkLst>
        </pc:cxnChg>
      </pc:sldChg>
      <pc:sldChg chg="addSp delSp modSp new add del mod">
        <pc:chgData name="David Schlund | EWI" userId="00272c2a-d16f-4eb8-86ba-c28bcace438c" providerId="ADAL" clId="{46E1544F-72D8-4254-8935-79928106F321}" dt="2021-04-12T15:56:01.446" v="2676" actId="47"/>
        <pc:sldMkLst>
          <pc:docMk/>
          <pc:sldMk cId="421670273" sldId="272"/>
        </pc:sldMkLst>
        <pc:spChg chg="mod">
          <ac:chgData name="David Schlund | EWI" userId="00272c2a-d16f-4eb8-86ba-c28bcace438c" providerId="ADAL" clId="{46E1544F-72D8-4254-8935-79928106F321}" dt="2021-04-12T15:55:12.722" v="2654" actId="948"/>
          <ac:spMkLst>
            <pc:docMk/>
            <pc:sldMk cId="421670273" sldId="272"/>
            <ac:spMk id="2" creationId="{8EF64D24-15E7-4318-BC3F-B931BC90AADD}"/>
          </ac:spMkLst>
        </pc:spChg>
        <pc:spChg chg="del">
          <ac:chgData name="David Schlund | EWI" userId="00272c2a-d16f-4eb8-86ba-c28bcace438c" providerId="ADAL" clId="{46E1544F-72D8-4254-8935-79928106F321}" dt="2021-04-12T15:55:13.745" v="2657" actId="478"/>
          <ac:spMkLst>
            <pc:docMk/>
            <pc:sldMk cId="421670273" sldId="272"/>
            <ac:spMk id="3" creationId="{43CF36B4-30A7-4AA4-BBED-7E11392ED666}"/>
          </ac:spMkLst>
        </pc:spChg>
        <pc:spChg chg="del">
          <ac:chgData name="David Schlund | EWI" userId="00272c2a-d16f-4eb8-86ba-c28bcace438c" providerId="ADAL" clId="{46E1544F-72D8-4254-8935-79928106F321}" dt="2021-04-12T15:55:15.006" v="2658" actId="478"/>
          <ac:spMkLst>
            <pc:docMk/>
            <pc:sldMk cId="421670273" sldId="272"/>
            <ac:spMk id="4" creationId="{994E25F0-047C-42F0-8BEF-F2CEFCD7EF41}"/>
          </ac:spMkLst>
        </pc:spChg>
        <pc:spChg chg="add del mod">
          <ac:chgData name="David Schlund | EWI" userId="00272c2a-d16f-4eb8-86ba-c28bcace438c" providerId="ADAL" clId="{46E1544F-72D8-4254-8935-79928106F321}" dt="2021-04-12T15:56:00.399" v="2675" actId="478"/>
          <ac:spMkLst>
            <pc:docMk/>
            <pc:sldMk cId="421670273" sldId="272"/>
            <ac:spMk id="6" creationId="{C689FFB0-A787-4A5E-883A-8C02898D97CF}"/>
          </ac:spMkLst>
        </pc:spChg>
        <pc:graphicFrameChg chg="add mod ord modVis">
          <ac:chgData name="David Schlund | EWI" userId="00272c2a-d16f-4eb8-86ba-c28bcace438c" providerId="ADAL" clId="{46E1544F-72D8-4254-8935-79928106F321}" dt="2021-04-12T15:55:12.725" v="2656"/>
          <ac:graphicFrameMkLst>
            <pc:docMk/>
            <pc:sldMk cId="421670273" sldId="272"/>
            <ac:graphicFrameMk id="5" creationId="{F05677E9-56A6-4984-BAE0-406868789D36}"/>
          </ac:graphicFrameMkLst>
        </pc:graphicFrameChg>
      </pc:sldChg>
      <pc:sldChg chg="addSp delSp modSp add mod">
        <pc:chgData name="David Schlund | EWI" userId="00272c2a-d16f-4eb8-86ba-c28bcace438c" providerId="ADAL" clId="{46E1544F-72D8-4254-8935-79928106F321}" dt="2021-04-16T07:38:50.129" v="5928" actId="21"/>
        <pc:sldMkLst>
          <pc:docMk/>
          <pc:sldMk cId="1745899909" sldId="272"/>
        </pc:sldMkLst>
        <pc:spChg chg="mod">
          <ac:chgData name="David Schlund | EWI" userId="00272c2a-d16f-4eb8-86ba-c28bcace438c" providerId="ADAL" clId="{46E1544F-72D8-4254-8935-79928106F321}" dt="2021-04-16T06:52:31.401" v="2682" actId="5793"/>
          <ac:spMkLst>
            <pc:docMk/>
            <pc:sldMk cId="1745899909" sldId="272"/>
            <ac:spMk id="3" creationId="{00000000-0000-0000-0000-000000000000}"/>
          </ac:spMkLst>
        </pc:spChg>
        <pc:spChg chg="add mod">
          <ac:chgData name="David Schlund | EWI" userId="00272c2a-d16f-4eb8-86ba-c28bcace438c" providerId="ADAL" clId="{46E1544F-72D8-4254-8935-79928106F321}" dt="2021-04-16T07:38:50.129" v="5928" actId="21"/>
          <ac:spMkLst>
            <pc:docMk/>
            <pc:sldMk cId="1745899909" sldId="272"/>
            <ac:spMk id="4" creationId="{7E6C13BE-E6DB-4C59-91CC-81A207C36EC8}"/>
          </ac:spMkLst>
        </pc:spChg>
        <pc:spChg chg="add mod">
          <ac:chgData name="David Schlund | EWI" userId="00272c2a-d16f-4eb8-86ba-c28bcace438c" providerId="ADAL" clId="{46E1544F-72D8-4254-8935-79928106F321}" dt="2021-04-16T07:15:46.281" v="4511" actId="20577"/>
          <ac:spMkLst>
            <pc:docMk/>
            <pc:sldMk cId="1745899909" sldId="272"/>
            <ac:spMk id="5" creationId="{A5649482-E0CA-4171-9B4C-63F62AFA7878}"/>
          </ac:spMkLst>
        </pc:spChg>
        <pc:spChg chg="add mod">
          <ac:chgData name="David Schlund | EWI" userId="00272c2a-d16f-4eb8-86ba-c28bcace438c" providerId="ADAL" clId="{46E1544F-72D8-4254-8935-79928106F321}" dt="2021-04-16T07:18:37.770" v="4523" actId="6549"/>
          <ac:spMkLst>
            <pc:docMk/>
            <pc:sldMk cId="1745899909" sldId="272"/>
            <ac:spMk id="6" creationId="{20CA1F70-1C0A-49A6-BA78-924071CAADEC}"/>
          </ac:spMkLst>
        </pc:spChg>
        <pc:spChg chg="add del mod">
          <ac:chgData name="David Schlund | EWI" userId="00272c2a-d16f-4eb8-86ba-c28bcace438c" providerId="ADAL" clId="{46E1544F-72D8-4254-8935-79928106F321}" dt="2021-04-16T07:38:28.341" v="5905"/>
          <ac:spMkLst>
            <pc:docMk/>
            <pc:sldMk cId="1745899909" sldId="272"/>
            <ac:spMk id="7" creationId="{A763D67B-24C1-4B34-8F22-F7FC9B7FE7C5}"/>
          </ac:spMkLst>
        </pc:spChg>
      </pc:sldChg>
      <pc:sldChg chg="del">
        <pc:chgData name="David Schlund | EWI" userId="00272c2a-d16f-4eb8-86ba-c28bcace438c" providerId="ADAL" clId="{46E1544F-72D8-4254-8935-79928106F321}" dt="2021-04-28T13:59:06.896" v="32041" actId="47"/>
        <pc:sldMkLst>
          <pc:docMk/>
          <pc:sldMk cId="3101687797" sldId="272"/>
        </pc:sldMkLst>
      </pc:sldChg>
      <pc:sldChg chg="addSp delSp modSp add del mod ord">
        <pc:chgData name="David Schlund | EWI" userId="00272c2a-d16f-4eb8-86ba-c28bcace438c" providerId="ADAL" clId="{46E1544F-72D8-4254-8935-79928106F321}" dt="2021-04-16T07:43:01.636" v="6464" actId="47"/>
        <pc:sldMkLst>
          <pc:docMk/>
          <pc:sldMk cId="513764388" sldId="273"/>
        </pc:sldMkLst>
        <pc:spChg chg="mod">
          <ac:chgData name="David Schlund | EWI" userId="00272c2a-d16f-4eb8-86ba-c28bcace438c" providerId="ADAL" clId="{46E1544F-72D8-4254-8935-79928106F321}" dt="2021-04-16T07:38:37.124" v="5911" actId="948"/>
          <ac:spMkLst>
            <pc:docMk/>
            <pc:sldMk cId="513764388" sldId="273"/>
            <ac:spMk id="2" creationId="{00000000-0000-0000-0000-000000000000}"/>
          </ac:spMkLst>
        </pc:spChg>
        <pc:spChg chg="mod">
          <ac:chgData name="David Schlund | EWI" userId="00272c2a-d16f-4eb8-86ba-c28bcace438c" providerId="ADAL" clId="{46E1544F-72D8-4254-8935-79928106F321}" dt="2021-04-16T07:42:14.819" v="6442" actId="20577"/>
          <ac:spMkLst>
            <pc:docMk/>
            <pc:sldMk cId="513764388" sldId="273"/>
            <ac:spMk id="4" creationId="{7E6C13BE-E6DB-4C59-91CC-81A207C36EC8}"/>
          </ac:spMkLst>
        </pc:spChg>
        <pc:spChg chg="mod">
          <ac:chgData name="David Schlund | EWI" userId="00272c2a-d16f-4eb8-86ba-c28bcace438c" providerId="ADAL" clId="{46E1544F-72D8-4254-8935-79928106F321}" dt="2021-04-16T07:38:38.720" v="5927" actId="20577"/>
          <ac:spMkLst>
            <pc:docMk/>
            <pc:sldMk cId="513764388" sldId="273"/>
            <ac:spMk id="5" creationId="{A5649482-E0CA-4171-9B4C-63F62AFA7878}"/>
          </ac:spMkLst>
        </pc:spChg>
        <pc:spChg chg="del">
          <ac:chgData name="David Schlund | EWI" userId="00272c2a-d16f-4eb8-86ba-c28bcace438c" providerId="ADAL" clId="{46E1544F-72D8-4254-8935-79928106F321}" dt="2021-04-16T07:42:26.250" v="6443" actId="478"/>
          <ac:spMkLst>
            <pc:docMk/>
            <pc:sldMk cId="513764388" sldId="273"/>
            <ac:spMk id="6" creationId="{20CA1F70-1C0A-49A6-BA78-924071CAADEC}"/>
          </ac:spMkLst>
        </pc:spChg>
        <pc:graphicFrameChg chg="add mod ord modVis">
          <ac:chgData name="David Schlund | EWI" userId="00272c2a-d16f-4eb8-86ba-c28bcace438c" providerId="ADAL" clId="{46E1544F-72D8-4254-8935-79928106F321}" dt="2021-04-16T07:38:37.406" v="5926"/>
          <ac:graphicFrameMkLst>
            <pc:docMk/>
            <pc:sldMk cId="513764388" sldId="273"/>
            <ac:graphicFrameMk id="7" creationId="{31892158-1BBD-4B23-8DD2-3FA51CCDD48A}"/>
          </ac:graphicFrameMkLst>
        </pc:graphicFrameChg>
      </pc:sldChg>
      <pc:sldChg chg="addSp delSp modSp add del mod">
        <pc:chgData name="David Schlund | EWI" userId="00272c2a-d16f-4eb8-86ba-c28bcace438c" providerId="ADAL" clId="{46E1544F-72D8-4254-8935-79928106F321}" dt="2021-04-28T13:59:03.185" v="32039" actId="47"/>
        <pc:sldMkLst>
          <pc:docMk/>
          <pc:sldMk cId="3713035471" sldId="273"/>
        </pc:sldMkLst>
        <pc:spChg chg="del">
          <ac:chgData name="David Schlund | EWI" userId="00272c2a-d16f-4eb8-86ba-c28bcace438c" providerId="ADAL" clId="{46E1544F-72D8-4254-8935-79928106F321}" dt="2021-04-16T07:48:29.492" v="6467" actId="478"/>
          <ac:spMkLst>
            <pc:docMk/>
            <pc:sldMk cId="3713035471" sldId="273"/>
            <ac:spMk id="3" creationId="{00000000-0000-0000-0000-000000000000}"/>
          </ac:spMkLst>
        </pc:spChg>
        <pc:spChg chg="add del mod">
          <ac:chgData name="David Schlund | EWI" userId="00272c2a-d16f-4eb8-86ba-c28bcace438c" providerId="ADAL" clId="{46E1544F-72D8-4254-8935-79928106F321}" dt="2021-04-16T07:48:37.169" v="6470" actId="478"/>
          <ac:spMkLst>
            <pc:docMk/>
            <pc:sldMk cId="3713035471" sldId="273"/>
            <ac:spMk id="5" creationId="{FF8F4465-336F-477A-8C26-EE5C5E75B1AD}"/>
          </ac:spMkLst>
        </pc:spChg>
        <pc:spChg chg="add del">
          <ac:chgData name="David Schlund | EWI" userId="00272c2a-d16f-4eb8-86ba-c28bcace438c" providerId="ADAL" clId="{46E1544F-72D8-4254-8935-79928106F321}" dt="2021-04-16T07:48:36.250" v="6469" actId="478"/>
          <ac:spMkLst>
            <pc:docMk/>
            <pc:sldMk cId="3713035471" sldId="273"/>
            <ac:spMk id="6" creationId="{2A824ED5-D46A-4460-B14A-87CBADE7F41A}"/>
          </ac:spMkLst>
        </pc:spChg>
        <pc:spChg chg="add mod">
          <ac:chgData name="David Schlund | EWI" userId="00272c2a-d16f-4eb8-86ba-c28bcace438c" providerId="ADAL" clId="{46E1544F-72D8-4254-8935-79928106F321}" dt="2021-04-16T07:50:04.850" v="6667" actId="1076"/>
          <ac:spMkLst>
            <pc:docMk/>
            <pc:sldMk cId="3713035471" sldId="273"/>
            <ac:spMk id="7" creationId="{F474B1DD-1327-44B5-82A9-84A21B3B3C07}"/>
          </ac:spMkLst>
        </pc:spChg>
        <pc:spChg chg="add mod">
          <ac:chgData name="David Schlund | EWI" userId="00272c2a-d16f-4eb8-86ba-c28bcace438c" providerId="ADAL" clId="{46E1544F-72D8-4254-8935-79928106F321}" dt="2021-04-16T07:50:22.573" v="6722" actId="20577"/>
          <ac:spMkLst>
            <pc:docMk/>
            <pc:sldMk cId="3713035471" sldId="273"/>
            <ac:spMk id="8" creationId="{2D4A4350-37AF-4069-9F4B-88D8AFEFCE79}"/>
          </ac:spMkLst>
        </pc:spChg>
        <pc:spChg chg="add mod">
          <ac:chgData name="David Schlund | EWI" userId="00272c2a-d16f-4eb8-86ba-c28bcace438c" providerId="ADAL" clId="{46E1544F-72D8-4254-8935-79928106F321}" dt="2021-04-16T07:50:46.579" v="6808" actId="20577"/>
          <ac:spMkLst>
            <pc:docMk/>
            <pc:sldMk cId="3713035471" sldId="273"/>
            <ac:spMk id="9" creationId="{698D3F08-E543-41B3-A777-1ADE77648689}"/>
          </ac:spMkLst>
        </pc:spChg>
        <pc:spChg chg="add del mod">
          <ac:chgData name="David Schlund | EWI" userId="00272c2a-d16f-4eb8-86ba-c28bcace438c" providerId="ADAL" clId="{46E1544F-72D8-4254-8935-79928106F321}" dt="2021-04-16T08:11:33.459" v="6905" actId="478"/>
          <ac:spMkLst>
            <pc:docMk/>
            <pc:sldMk cId="3713035471" sldId="273"/>
            <ac:spMk id="10" creationId="{1D8689FC-AC8A-4CC6-9FD3-61DBAB088954}"/>
          </ac:spMkLst>
        </pc:spChg>
        <pc:spChg chg="add mod">
          <ac:chgData name="David Schlund | EWI" userId="00272c2a-d16f-4eb8-86ba-c28bcace438c" providerId="ADAL" clId="{46E1544F-72D8-4254-8935-79928106F321}" dt="2021-04-16T08:14:23.852" v="7213" actId="1036"/>
          <ac:spMkLst>
            <pc:docMk/>
            <pc:sldMk cId="3713035471" sldId="273"/>
            <ac:spMk id="11" creationId="{769EDDEB-9A52-490C-A7FB-005B6AB4DEF9}"/>
          </ac:spMkLst>
        </pc:spChg>
        <pc:spChg chg="add mod">
          <ac:chgData name="David Schlund | EWI" userId="00272c2a-d16f-4eb8-86ba-c28bcace438c" providerId="ADAL" clId="{46E1544F-72D8-4254-8935-79928106F321}" dt="2021-04-16T08:14:21.452" v="7206" actId="1036"/>
          <ac:spMkLst>
            <pc:docMk/>
            <pc:sldMk cId="3713035471" sldId="273"/>
            <ac:spMk id="12" creationId="{F23EE5BE-6654-4DD5-AD3D-C1781E68216C}"/>
          </ac:spMkLst>
        </pc:spChg>
        <pc:spChg chg="add del mod">
          <ac:chgData name="David Schlund | EWI" userId="00272c2a-d16f-4eb8-86ba-c28bcace438c" providerId="ADAL" clId="{46E1544F-72D8-4254-8935-79928106F321}" dt="2021-04-16T08:13:52.139" v="7146" actId="478"/>
          <ac:spMkLst>
            <pc:docMk/>
            <pc:sldMk cId="3713035471" sldId="273"/>
            <ac:spMk id="24" creationId="{612A7837-9A58-47D9-B537-2C5EEB225AE0}"/>
          </ac:spMkLst>
        </pc:spChg>
        <pc:spChg chg="add mod">
          <ac:chgData name="David Schlund | EWI" userId="00272c2a-d16f-4eb8-86ba-c28bcace438c" providerId="ADAL" clId="{46E1544F-72D8-4254-8935-79928106F321}" dt="2021-04-16T08:14:31.195" v="7214" actId="1076"/>
          <ac:spMkLst>
            <pc:docMk/>
            <pc:sldMk cId="3713035471" sldId="273"/>
            <ac:spMk id="25" creationId="{181A220D-27E8-4FD8-BBE7-3143ADD21BA3}"/>
          </ac:spMkLst>
        </pc:spChg>
        <pc:spChg chg="add mod">
          <ac:chgData name="David Schlund | EWI" userId="00272c2a-d16f-4eb8-86ba-c28bcace438c" providerId="ADAL" clId="{46E1544F-72D8-4254-8935-79928106F321}" dt="2021-04-16T08:15:01.187" v="7233" actId="1076"/>
          <ac:spMkLst>
            <pc:docMk/>
            <pc:sldMk cId="3713035471" sldId="273"/>
            <ac:spMk id="26" creationId="{CABB2408-A96A-4559-ABE4-E34335B0671F}"/>
          </ac:spMkLst>
        </pc:spChg>
        <pc:cxnChg chg="add mod">
          <ac:chgData name="David Schlund | EWI" userId="00272c2a-d16f-4eb8-86ba-c28bcace438c" providerId="ADAL" clId="{46E1544F-72D8-4254-8935-79928106F321}" dt="2021-04-16T08:13:26.796" v="7123"/>
          <ac:cxnSpMkLst>
            <pc:docMk/>
            <pc:sldMk cId="3713035471" sldId="273"/>
            <ac:cxnSpMk id="14" creationId="{2932FEFA-B382-490E-B326-E19D48CB0DD2}"/>
          </ac:cxnSpMkLst>
        </pc:cxnChg>
        <pc:cxnChg chg="add mod">
          <ac:chgData name="David Schlund | EWI" userId="00272c2a-d16f-4eb8-86ba-c28bcace438c" providerId="ADAL" clId="{46E1544F-72D8-4254-8935-79928106F321}" dt="2021-04-16T08:13:32.131" v="7126" actId="14100"/>
          <ac:cxnSpMkLst>
            <pc:docMk/>
            <pc:sldMk cId="3713035471" sldId="273"/>
            <ac:cxnSpMk id="15" creationId="{317B426B-1DE6-4819-8793-7B32AC49C165}"/>
          </ac:cxnSpMkLst>
        </pc:cxnChg>
        <pc:cxnChg chg="add mod">
          <ac:chgData name="David Schlund | EWI" userId="00272c2a-d16f-4eb8-86ba-c28bcace438c" providerId="ADAL" clId="{46E1544F-72D8-4254-8935-79928106F321}" dt="2021-04-16T08:14:23.852" v="7213" actId="1036"/>
          <ac:cxnSpMkLst>
            <pc:docMk/>
            <pc:sldMk cId="3713035471" sldId="273"/>
            <ac:cxnSpMk id="18" creationId="{25BDF4F8-90EF-48BE-9DA9-6C5BD217379D}"/>
          </ac:cxnSpMkLst>
        </pc:cxnChg>
        <pc:cxnChg chg="add mod">
          <ac:chgData name="David Schlund | EWI" userId="00272c2a-d16f-4eb8-86ba-c28bcace438c" providerId="ADAL" clId="{46E1544F-72D8-4254-8935-79928106F321}" dt="2021-04-16T08:14:23.852" v="7213" actId="1036"/>
          <ac:cxnSpMkLst>
            <pc:docMk/>
            <pc:sldMk cId="3713035471" sldId="273"/>
            <ac:cxnSpMk id="21" creationId="{7964451A-D676-431A-BD3D-C63A7D08B42A}"/>
          </ac:cxnSpMkLst>
        </pc:cxnChg>
      </pc:sldChg>
      <pc:sldChg chg="addSp delSp modSp mod modAnim modNotesTx">
        <pc:chgData name="David Schlund | EWI" userId="00272c2a-d16f-4eb8-86ba-c28bcace438c" providerId="ADAL" clId="{46E1544F-72D8-4254-8935-79928106F321}" dt="2021-04-29T06:47:57.311" v="34199" actId="20577"/>
        <pc:sldMkLst>
          <pc:docMk/>
          <pc:sldMk cId="1584105889" sldId="274"/>
        </pc:sldMkLst>
        <pc:spChg chg="mod">
          <ac:chgData name="David Schlund | EWI" userId="00272c2a-d16f-4eb8-86ba-c28bcace438c" providerId="ADAL" clId="{46E1544F-72D8-4254-8935-79928106F321}" dt="2021-04-27T08:44:29.560" v="18334" actId="948"/>
          <ac:spMkLst>
            <pc:docMk/>
            <pc:sldMk cId="1584105889" sldId="274"/>
            <ac:spMk id="2" creationId="{00000000-0000-0000-0000-000000000000}"/>
          </ac:spMkLst>
        </pc:spChg>
        <pc:spChg chg="mod">
          <ac:chgData name="David Schlund | EWI" userId="00272c2a-d16f-4eb8-86ba-c28bcace438c" providerId="ADAL" clId="{46E1544F-72D8-4254-8935-79928106F321}" dt="2021-04-27T11:24:46.180" v="20222" actId="20577"/>
          <ac:spMkLst>
            <pc:docMk/>
            <pc:sldMk cId="1584105889" sldId="274"/>
            <ac:spMk id="4" creationId="{0148489E-07FF-4BBE-AC81-285AC8555FBA}"/>
          </ac:spMkLst>
        </pc:spChg>
        <pc:spChg chg="add mod">
          <ac:chgData name="David Schlund | EWI" userId="00272c2a-d16f-4eb8-86ba-c28bcace438c" providerId="ADAL" clId="{46E1544F-72D8-4254-8935-79928106F321}" dt="2021-04-28T12:38:14.337" v="30401" actId="6549"/>
          <ac:spMkLst>
            <pc:docMk/>
            <pc:sldMk cId="1584105889" sldId="274"/>
            <ac:spMk id="7" creationId="{FA528FC2-97C7-4AFD-BB2E-08A7C7CE360E}"/>
          </ac:spMkLst>
        </pc:spChg>
        <pc:spChg chg="add mod">
          <ac:chgData name="David Schlund | EWI" userId="00272c2a-d16f-4eb8-86ba-c28bcace438c" providerId="ADAL" clId="{46E1544F-72D8-4254-8935-79928106F321}" dt="2021-04-27T08:44:29.059" v="18333" actId="790"/>
          <ac:spMkLst>
            <pc:docMk/>
            <pc:sldMk cId="1584105889" sldId="274"/>
            <ac:spMk id="8" creationId="{0CD48951-825B-448F-BF0C-4DED8BA5593F}"/>
          </ac:spMkLst>
        </pc:spChg>
        <pc:spChg chg="del mod">
          <ac:chgData name="David Schlund | EWI" userId="00272c2a-d16f-4eb8-86ba-c28bcace438c" providerId="ADAL" clId="{46E1544F-72D8-4254-8935-79928106F321}" dt="2021-04-27T08:44:23.416" v="18322" actId="478"/>
          <ac:spMkLst>
            <pc:docMk/>
            <pc:sldMk cId="1584105889" sldId="274"/>
            <ac:spMk id="13" creationId="{49BCA8A8-C0E0-4C15-99B1-0CA8A8D3290A}"/>
          </ac:spMkLst>
        </pc:spChg>
        <pc:graphicFrameChg chg="add mod ord modVis">
          <ac:chgData name="David Schlund | EWI" userId="00272c2a-d16f-4eb8-86ba-c28bcace438c" providerId="ADAL" clId="{46E1544F-72D8-4254-8935-79928106F321}" dt="2021-04-27T08:44:29.560" v="18336"/>
          <ac:graphicFrameMkLst>
            <pc:docMk/>
            <pc:sldMk cId="1584105889" sldId="274"/>
            <ac:graphicFrameMk id="3" creationId="{8BE20EAB-68FD-41E0-AA05-4E56CC3291EA}"/>
          </ac:graphicFrameMkLst>
        </pc:graphicFrameChg>
        <pc:picChg chg="add del mod">
          <ac:chgData name="David Schlund | EWI" userId="00272c2a-d16f-4eb8-86ba-c28bcace438c" providerId="ADAL" clId="{46E1544F-72D8-4254-8935-79928106F321}" dt="2021-04-27T08:52:46.989" v="18376" actId="478"/>
          <ac:picMkLst>
            <pc:docMk/>
            <pc:sldMk cId="1584105889" sldId="274"/>
            <ac:picMk id="6" creationId="{0C0887BB-7890-4B4B-BF4C-F777F1880C49}"/>
          </ac:picMkLst>
        </pc:picChg>
        <pc:picChg chg="add del mod">
          <ac:chgData name="David Schlund | EWI" userId="00272c2a-d16f-4eb8-86ba-c28bcace438c" providerId="ADAL" clId="{46E1544F-72D8-4254-8935-79928106F321}" dt="2021-04-27T08:53:05.559" v="18380" actId="478"/>
          <ac:picMkLst>
            <pc:docMk/>
            <pc:sldMk cId="1584105889" sldId="274"/>
            <ac:picMk id="11" creationId="{936F9451-582E-40F8-BD7F-A0C88926D0D9}"/>
          </ac:picMkLst>
        </pc:picChg>
      </pc:sldChg>
      <pc:sldChg chg="addSp delSp modSp mod modAnim modNotesTx">
        <pc:chgData name="David Schlund | EWI" userId="00272c2a-d16f-4eb8-86ba-c28bcace438c" providerId="ADAL" clId="{46E1544F-72D8-4254-8935-79928106F321}" dt="2021-04-29T06:42:34.767" v="34037" actId="20577"/>
        <pc:sldMkLst>
          <pc:docMk/>
          <pc:sldMk cId="3240953706" sldId="276"/>
        </pc:sldMkLst>
        <pc:spChg chg="mod">
          <ac:chgData name="David Schlund | EWI" userId="00272c2a-d16f-4eb8-86ba-c28bcace438c" providerId="ADAL" clId="{46E1544F-72D8-4254-8935-79928106F321}" dt="2021-04-27T08:44:43.426" v="18353" actId="948"/>
          <ac:spMkLst>
            <pc:docMk/>
            <pc:sldMk cId="3240953706" sldId="276"/>
            <ac:spMk id="2" creationId="{00000000-0000-0000-0000-000000000000}"/>
          </ac:spMkLst>
        </pc:spChg>
        <pc:spChg chg="mod">
          <ac:chgData name="David Schlund | EWI" userId="00272c2a-d16f-4eb8-86ba-c28bcace438c" providerId="ADAL" clId="{46E1544F-72D8-4254-8935-79928106F321}" dt="2021-04-28T12:34:08.396" v="29766" actId="20577"/>
          <ac:spMkLst>
            <pc:docMk/>
            <pc:sldMk cId="3240953706" sldId="276"/>
            <ac:spMk id="4" creationId="{52BE68E2-5B26-4B92-84E3-B25445D47079}"/>
          </ac:spMkLst>
        </pc:spChg>
        <pc:spChg chg="add mod">
          <ac:chgData name="David Schlund | EWI" userId="00272c2a-d16f-4eb8-86ba-c28bcace438c" providerId="ADAL" clId="{46E1544F-72D8-4254-8935-79928106F321}" dt="2021-04-27T12:11:31.696" v="21360" actId="20577"/>
          <ac:spMkLst>
            <pc:docMk/>
            <pc:sldMk cId="3240953706" sldId="276"/>
            <ac:spMk id="8" creationId="{F3BB42BE-0582-4CF0-B6B1-1C67ADA537C7}"/>
          </ac:spMkLst>
        </pc:spChg>
        <pc:spChg chg="add mod">
          <ac:chgData name="David Schlund | EWI" userId="00272c2a-d16f-4eb8-86ba-c28bcace438c" providerId="ADAL" clId="{46E1544F-72D8-4254-8935-79928106F321}" dt="2021-04-27T08:44:42.936" v="18352" actId="790"/>
          <ac:spMkLst>
            <pc:docMk/>
            <pc:sldMk cId="3240953706" sldId="276"/>
            <ac:spMk id="9" creationId="{5602D90B-599C-4CC2-B51A-EC60BE877F56}"/>
          </ac:spMkLst>
        </pc:spChg>
        <pc:spChg chg="del mod">
          <ac:chgData name="David Schlund | EWI" userId="00272c2a-d16f-4eb8-86ba-c28bcace438c" providerId="ADAL" clId="{46E1544F-72D8-4254-8935-79928106F321}" dt="2021-04-28T08:21:24.121" v="25179" actId="478"/>
          <ac:spMkLst>
            <pc:docMk/>
            <pc:sldMk cId="3240953706" sldId="276"/>
            <ac:spMk id="10" creationId="{2B5607B3-4F2B-4606-ABD2-02C8B5FE8415}"/>
          </ac:spMkLst>
        </pc:spChg>
        <pc:spChg chg="add del mod">
          <ac:chgData name="David Schlund | EWI" userId="00272c2a-d16f-4eb8-86ba-c28bcace438c" providerId="ADAL" clId="{46E1544F-72D8-4254-8935-79928106F321}" dt="2021-04-27T15:55:41.300" v="25004" actId="478"/>
          <ac:spMkLst>
            <pc:docMk/>
            <pc:sldMk cId="3240953706" sldId="276"/>
            <ac:spMk id="11" creationId="{13D71184-6B1E-4DE6-B49C-45461D7490EE}"/>
          </ac:spMkLst>
        </pc:spChg>
        <pc:spChg chg="add del mod">
          <ac:chgData name="David Schlund | EWI" userId="00272c2a-d16f-4eb8-86ba-c28bcace438c" providerId="ADAL" clId="{46E1544F-72D8-4254-8935-79928106F321}" dt="2021-04-27T15:55:40.007" v="25003" actId="478"/>
          <ac:spMkLst>
            <pc:docMk/>
            <pc:sldMk cId="3240953706" sldId="276"/>
            <ac:spMk id="12" creationId="{5A25AF02-A483-4E67-BFC3-CF23E41DA6BE}"/>
          </ac:spMkLst>
        </pc:spChg>
        <pc:spChg chg="del mod">
          <ac:chgData name="David Schlund | EWI" userId="00272c2a-d16f-4eb8-86ba-c28bcace438c" providerId="ADAL" clId="{46E1544F-72D8-4254-8935-79928106F321}" dt="2021-04-27T08:44:37.411" v="18339" actId="478"/>
          <ac:spMkLst>
            <pc:docMk/>
            <pc:sldMk cId="3240953706" sldId="276"/>
            <ac:spMk id="17" creationId="{ECB1366B-826B-4845-B351-7B117E8227EE}"/>
          </ac:spMkLst>
        </pc:spChg>
        <pc:graphicFrameChg chg="add mod ord modVis">
          <ac:chgData name="David Schlund | EWI" userId="00272c2a-d16f-4eb8-86ba-c28bcace438c" providerId="ADAL" clId="{46E1544F-72D8-4254-8935-79928106F321}" dt="2021-04-27T08:44:43.438" v="18355"/>
          <ac:graphicFrameMkLst>
            <pc:docMk/>
            <pc:sldMk cId="3240953706" sldId="276"/>
            <ac:graphicFrameMk id="3" creationId="{413373AC-65DA-4DD5-A79F-1D5FBE5BBA6C}"/>
          </ac:graphicFrameMkLst>
        </pc:graphicFrameChg>
      </pc:sldChg>
      <pc:sldChg chg="addSp delSp modSp del mod">
        <pc:chgData name="David Schlund | EWI" userId="00272c2a-d16f-4eb8-86ba-c28bcace438c" providerId="ADAL" clId="{46E1544F-72D8-4254-8935-79928106F321}" dt="2021-04-27T14:52:52.578" v="24031" actId="47"/>
        <pc:sldMkLst>
          <pc:docMk/>
          <pc:sldMk cId="1151621156" sldId="277"/>
        </pc:sldMkLst>
        <pc:spChg chg="mod">
          <ac:chgData name="David Schlund | EWI" userId="00272c2a-d16f-4eb8-86ba-c28bcace438c" providerId="ADAL" clId="{46E1544F-72D8-4254-8935-79928106F321}" dt="2021-04-27T08:44:16.654" v="18317" actId="948"/>
          <ac:spMkLst>
            <pc:docMk/>
            <pc:sldMk cId="1151621156" sldId="277"/>
            <ac:spMk id="2" creationId="{00000000-0000-0000-0000-000000000000}"/>
          </ac:spMkLst>
        </pc:spChg>
        <pc:spChg chg="add del mod">
          <ac:chgData name="David Schlund | EWI" userId="00272c2a-d16f-4eb8-86ba-c28bcace438c" providerId="ADAL" clId="{46E1544F-72D8-4254-8935-79928106F321}" dt="2021-04-27T13:54:33.799" v="22993" actId="478"/>
          <ac:spMkLst>
            <pc:docMk/>
            <pc:sldMk cId="1151621156" sldId="277"/>
            <ac:spMk id="4" creationId="{6FB63C21-BEE4-4918-9FA0-2DB204A2920E}"/>
          </ac:spMkLst>
        </pc:spChg>
        <pc:spChg chg="add del mod">
          <ac:chgData name="David Schlund | EWI" userId="00272c2a-d16f-4eb8-86ba-c28bcace438c" providerId="ADAL" clId="{46E1544F-72D8-4254-8935-79928106F321}" dt="2021-04-27T14:52:47.436" v="24028" actId="21"/>
          <ac:spMkLst>
            <pc:docMk/>
            <pc:sldMk cId="1151621156" sldId="277"/>
            <ac:spMk id="5" creationId="{C5CE7999-3373-4DEB-95CF-E7912DB43D8F}"/>
          </ac:spMkLst>
        </pc:spChg>
        <pc:spChg chg="add mod">
          <ac:chgData name="David Schlund | EWI" userId="00272c2a-d16f-4eb8-86ba-c28bcace438c" providerId="ADAL" clId="{46E1544F-72D8-4254-8935-79928106F321}" dt="2021-04-27T11:24:59.734" v="20225" actId="404"/>
          <ac:spMkLst>
            <pc:docMk/>
            <pc:sldMk cId="1151621156" sldId="277"/>
            <ac:spMk id="9" creationId="{7A65819B-94B7-4AE1-9F37-97D2C712956C}"/>
          </ac:spMkLst>
        </pc:spChg>
        <pc:spChg chg="add mod">
          <ac:chgData name="David Schlund | EWI" userId="00272c2a-d16f-4eb8-86ba-c28bcace438c" providerId="ADAL" clId="{46E1544F-72D8-4254-8935-79928106F321}" dt="2021-04-27T08:44:16.152" v="18316" actId="790"/>
          <ac:spMkLst>
            <pc:docMk/>
            <pc:sldMk cId="1151621156" sldId="277"/>
            <ac:spMk id="10" creationId="{E538CC8B-2BD9-4745-A49E-D1C401DA973A}"/>
          </ac:spMkLst>
        </pc:spChg>
        <pc:spChg chg="del mod">
          <ac:chgData name="David Schlund | EWI" userId="00272c2a-d16f-4eb8-86ba-c28bcace438c" providerId="ADAL" clId="{46E1544F-72D8-4254-8935-79928106F321}" dt="2021-04-27T11:25:20.004" v="20283" actId="478"/>
          <ac:spMkLst>
            <pc:docMk/>
            <pc:sldMk cId="1151621156" sldId="277"/>
            <ac:spMk id="17" creationId="{8CAA2B98-7689-401D-9E80-434065F20E6C}"/>
          </ac:spMkLst>
        </pc:spChg>
        <pc:spChg chg="del mod">
          <ac:chgData name="David Schlund | EWI" userId="00272c2a-d16f-4eb8-86ba-c28bcace438c" providerId="ADAL" clId="{46E1544F-72D8-4254-8935-79928106F321}" dt="2021-04-27T11:25:21.235" v="20284" actId="478"/>
          <ac:spMkLst>
            <pc:docMk/>
            <pc:sldMk cId="1151621156" sldId="277"/>
            <ac:spMk id="18" creationId="{3152B032-861F-42EE-BA89-A71B1ADD9FF2}"/>
          </ac:spMkLst>
        </pc:spChg>
        <pc:spChg chg="del mod">
          <ac:chgData name="David Schlund | EWI" userId="00272c2a-d16f-4eb8-86ba-c28bcace438c" providerId="ADAL" clId="{46E1544F-72D8-4254-8935-79928106F321}" dt="2021-04-27T08:44:09.059" v="18303" actId="478"/>
          <ac:spMkLst>
            <pc:docMk/>
            <pc:sldMk cId="1151621156" sldId="277"/>
            <ac:spMk id="19" creationId="{106B9DC6-F91B-4E13-831E-4CD5656AEA7E}"/>
          </ac:spMkLst>
        </pc:spChg>
        <pc:graphicFrameChg chg="add mod ord modVis">
          <ac:chgData name="David Schlund | EWI" userId="00272c2a-d16f-4eb8-86ba-c28bcace438c" providerId="ADAL" clId="{46E1544F-72D8-4254-8935-79928106F321}" dt="2021-04-27T08:44:16.664" v="18319"/>
          <ac:graphicFrameMkLst>
            <pc:docMk/>
            <pc:sldMk cId="1151621156" sldId="277"/>
            <ac:graphicFrameMk id="3" creationId="{A409CEDD-5D27-4D0D-B1F1-5BB7F6BBD009}"/>
          </ac:graphicFrameMkLst>
        </pc:graphicFrameChg>
        <pc:picChg chg="del mod">
          <ac:chgData name="David Schlund | EWI" userId="00272c2a-d16f-4eb8-86ba-c28bcace438c" providerId="ADAL" clId="{46E1544F-72D8-4254-8935-79928106F321}" dt="2021-04-27T14:52:33.837" v="24022" actId="478"/>
          <ac:picMkLst>
            <pc:docMk/>
            <pc:sldMk cId="1151621156" sldId="277"/>
            <ac:picMk id="14" creationId="{BC310A93-EE1A-4887-BE9E-7783F5A1C585}"/>
          </ac:picMkLst>
        </pc:picChg>
        <pc:picChg chg="del mod">
          <ac:chgData name="David Schlund | EWI" userId="00272c2a-d16f-4eb8-86ba-c28bcace438c" providerId="ADAL" clId="{46E1544F-72D8-4254-8935-79928106F321}" dt="2021-04-27T14:52:35.451" v="24023" actId="21"/>
          <ac:picMkLst>
            <pc:docMk/>
            <pc:sldMk cId="1151621156" sldId="277"/>
            <ac:picMk id="16" creationId="{107459C1-F2CA-4D23-A1A2-E302977F6C0F}"/>
          </ac:picMkLst>
        </pc:picChg>
      </pc:sldChg>
      <pc:sldChg chg="addSp delSp modSp mod addAnim delAnim modAnim modNotesTx">
        <pc:chgData name="David Schlund | EWI" userId="00272c2a-d16f-4eb8-86ba-c28bcace438c" providerId="ADAL" clId="{46E1544F-72D8-4254-8935-79928106F321}" dt="2021-05-06T06:40:43.655" v="35620" actId="1076"/>
        <pc:sldMkLst>
          <pc:docMk/>
          <pc:sldMk cId="1129182750" sldId="279"/>
        </pc:sldMkLst>
        <pc:spChg chg="mod ord">
          <ac:chgData name="David Schlund | EWI" userId="00272c2a-d16f-4eb8-86ba-c28bcace438c" providerId="ADAL" clId="{46E1544F-72D8-4254-8935-79928106F321}" dt="2021-04-27T16:32:53.244" v="25145" actId="1076"/>
          <ac:spMkLst>
            <pc:docMk/>
            <pc:sldMk cId="1129182750" sldId="279"/>
            <ac:spMk id="2" creationId="{0317863B-24CA-45B0-871D-01352D5B235A}"/>
          </ac:spMkLst>
        </pc:spChg>
        <pc:spChg chg="del mod ord">
          <ac:chgData name="David Schlund | EWI" userId="00272c2a-d16f-4eb8-86ba-c28bcace438c" providerId="ADAL" clId="{46E1544F-72D8-4254-8935-79928106F321}" dt="2021-04-26T14:06:26.652" v="14747" actId="478"/>
          <ac:spMkLst>
            <pc:docMk/>
            <pc:sldMk cId="1129182750" sldId="279"/>
            <ac:spMk id="3" creationId="{A1DBF99F-0D09-4871-8911-C21F1DFFE02F}"/>
          </ac:spMkLst>
        </pc:spChg>
        <pc:spChg chg="mod ord">
          <ac:chgData name="David Schlund | EWI" userId="00272c2a-d16f-4eb8-86ba-c28bcace438c" providerId="ADAL" clId="{46E1544F-72D8-4254-8935-79928106F321}" dt="2021-04-27T16:54:55.194" v="25178" actId="20577"/>
          <ac:spMkLst>
            <pc:docMk/>
            <pc:sldMk cId="1129182750" sldId="279"/>
            <ac:spMk id="6" creationId="{9CBFA281-9984-4D1D-9084-C4ECA40CB62B}"/>
          </ac:spMkLst>
        </pc:spChg>
        <pc:spChg chg="del mod topLvl">
          <ac:chgData name="David Schlund | EWI" userId="00272c2a-d16f-4eb8-86ba-c28bcace438c" providerId="ADAL" clId="{46E1544F-72D8-4254-8935-79928106F321}" dt="2021-04-26T14:24:40.160" v="14913" actId="478"/>
          <ac:spMkLst>
            <pc:docMk/>
            <pc:sldMk cId="1129182750" sldId="279"/>
            <ac:spMk id="8" creationId="{3FD30ED5-37FE-4097-A165-6AC3455B96EC}"/>
          </ac:spMkLst>
        </pc:spChg>
        <pc:spChg chg="del mod topLvl">
          <ac:chgData name="David Schlund | EWI" userId="00272c2a-d16f-4eb8-86ba-c28bcace438c" providerId="ADAL" clId="{46E1544F-72D8-4254-8935-79928106F321}" dt="2021-04-26T14:24:41.374" v="14914" actId="478"/>
          <ac:spMkLst>
            <pc:docMk/>
            <pc:sldMk cId="1129182750" sldId="279"/>
            <ac:spMk id="9" creationId="{0A1C22A1-C554-48ED-8202-A56901F2240E}"/>
          </ac:spMkLst>
        </pc:spChg>
        <pc:spChg chg="mod topLvl">
          <ac:chgData name="David Schlund | EWI" userId="00272c2a-d16f-4eb8-86ba-c28bcace438c" providerId="ADAL" clId="{46E1544F-72D8-4254-8935-79928106F321}" dt="2021-04-27T15:17:35.713" v="24058" actId="14100"/>
          <ac:spMkLst>
            <pc:docMk/>
            <pc:sldMk cId="1129182750" sldId="279"/>
            <ac:spMk id="12" creationId="{C398DA24-6CD7-484F-8CED-8EA458186855}"/>
          </ac:spMkLst>
        </pc:spChg>
        <pc:spChg chg="mod topLvl">
          <ac:chgData name="David Schlund | EWI" userId="00272c2a-d16f-4eb8-86ba-c28bcace438c" providerId="ADAL" clId="{46E1544F-72D8-4254-8935-79928106F321}" dt="2021-04-26T14:11:09.725" v="14832" actId="164"/>
          <ac:spMkLst>
            <pc:docMk/>
            <pc:sldMk cId="1129182750" sldId="279"/>
            <ac:spMk id="14" creationId="{AFEB54B6-BAEF-40E7-957E-898702A67714}"/>
          </ac:spMkLst>
        </pc:spChg>
        <pc:spChg chg="mod topLvl">
          <ac:chgData name="David Schlund | EWI" userId="00272c2a-d16f-4eb8-86ba-c28bcace438c" providerId="ADAL" clId="{46E1544F-72D8-4254-8935-79928106F321}" dt="2021-04-26T14:11:17.404" v="14834" actId="164"/>
          <ac:spMkLst>
            <pc:docMk/>
            <pc:sldMk cId="1129182750" sldId="279"/>
            <ac:spMk id="15" creationId="{2F481609-89C1-4596-94A2-B7EF17473DB9}"/>
          </ac:spMkLst>
        </pc:spChg>
        <pc:spChg chg="mod topLvl">
          <ac:chgData name="David Schlund | EWI" userId="00272c2a-d16f-4eb8-86ba-c28bcace438c" providerId="ADAL" clId="{46E1544F-72D8-4254-8935-79928106F321}" dt="2021-04-26T14:10:42.674" v="14822" actId="164"/>
          <ac:spMkLst>
            <pc:docMk/>
            <pc:sldMk cId="1129182750" sldId="279"/>
            <ac:spMk id="17" creationId="{9AA4F141-FA81-4293-ACC9-ABD997209BF5}"/>
          </ac:spMkLst>
        </pc:spChg>
        <pc:spChg chg="add mod ord">
          <ac:chgData name="David Schlund | EWI" userId="00272c2a-d16f-4eb8-86ba-c28bcace438c" providerId="ADAL" clId="{46E1544F-72D8-4254-8935-79928106F321}" dt="2021-04-23T14:05:25.329" v="8639" actId="164"/>
          <ac:spMkLst>
            <pc:docMk/>
            <pc:sldMk cId="1129182750" sldId="279"/>
            <ac:spMk id="30" creationId="{0B0CA241-7158-46B8-B546-DFCAF6066369}"/>
          </ac:spMkLst>
        </pc:spChg>
        <pc:spChg chg="add del mod">
          <ac:chgData name="David Schlund | EWI" userId="00272c2a-d16f-4eb8-86ba-c28bcace438c" providerId="ADAL" clId="{46E1544F-72D8-4254-8935-79928106F321}" dt="2021-04-26T14:06:24.190" v="14746" actId="478"/>
          <ac:spMkLst>
            <pc:docMk/>
            <pc:sldMk cId="1129182750" sldId="279"/>
            <ac:spMk id="33" creationId="{8DC99FED-1B02-4860-9EC5-1E97B89E6829}"/>
          </ac:spMkLst>
        </pc:spChg>
        <pc:spChg chg="add mod ord">
          <ac:chgData name="David Schlund | EWI" userId="00272c2a-d16f-4eb8-86ba-c28bcace438c" providerId="ADAL" clId="{46E1544F-72D8-4254-8935-79928106F321}" dt="2021-04-27T15:23:14.094" v="24262"/>
          <ac:spMkLst>
            <pc:docMk/>
            <pc:sldMk cId="1129182750" sldId="279"/>
            <ac:spMk id="34" creationId="{30585438-D2A7-43EC-A7DA-A5C085BBBAF0}"/>
          </ac:spMkLst>
        </pc:spChg>
        <pc:spChg chg="add del mod">
          <ac:chgData name="David Schlund | EWI" userId="00272c2a-d16f-4eb8-86ba-c28bcace438c" providerId="ADAL" clId="{46E1544F-72D8-4254-8935-79928106F321}" dt="2021-04-26T14:37:36.858" v="15243" actId="478"/>
          <ac:spMkLst>
            <pc:docMk/>
            <pc:sldMk cId="1129182750" sldId="279"/>
            <ac:spMk id="35" creationId="{41976DB0-5AC5-4889-955C-D431506377B8}"/>
          </ac:spMkLst>
        </pc:spChg>
        <pc:spChg chg="mod ord">
          <ac:chgData name="David Schlund | EWI" userId="00272c2a-d16f-4eb8-86ba-c28bcace438c" providerId="ADAL" clId="{46E1544F-72D8-4254-8935-79928106F321}" dt="2021-04-25T10:33:41.221" v="11737" actId="20577"/>
          <ac:spMkLst>
            <pc:docMk/>
            <pc:sldMk cId="1129182750" sldId="279"/>
            <ac:spMk id="58" creationId="{CF43210A-83B0-479C-B33A-71A2D07440D2}"/>
          </ac:spMkLst>
        </pc:spChg>
        <pc:spChg chg="del mod ord">
          <ac:chgData name="David Schlund | EWI" userId="00272c2a-d16f-4eb8-86ba-c28bcace438c" providerId="ADAL" clId="{46E1544F-72D8-4254-8935-79928106F321}" dt="2021-04-26T14:37:38.237" v="15244" actId="478"/>
          <ac:spMkLst>
            <pc:docMk/>
            <pc:sldMk cId="1129182750" sldId="279"/>
            <ac:spMk id="59" creationId="{C42D454D-27BE-4ADF-A5AA-5ECB336ECDEE}"/>
          </ac:spMkLst>
        </pc:spChg>
        <pc:spChg chg="mod">
          <ac:chgData name="David Schlund | EWI" userId="00272c2a-d16f-4eb8-86ba-c28bcace438c" providerId="ADAL" clId="{46E1544F-72D8-4254-8935-79928106F321}" dt="2021-04-23T14:05:35.812" v="8644"/>
          <ac:spMkLst>
            <pc:docMk/>
            <pc:sldMk cId="1129182750" sldId="279"/>
            <ac:spMk id="63" creationId="{6A0ED6DD-8DA2-4598-ACC4-6C4C01BE7CB9}"/>
          </ac:spMkLst>
        </pc:spChg>
        <pc:spChg chg="mod">
          <ac:chgData name="David Schlund | EWI" userId="00272c2a-d16f-4eb8-86ba-c28bcace438c" providerId="ADAL" clId="{46E1544F-72D8-4254-8935-79928106F321}" dt="2021-04-23T14:05:35.812" v="8644"/>
          <ac:spMkLst>
            <pc:docMk/>
            <pc:sldMk cId="1129182750" sldId="279"/>
            <ac:spMk id="68" creationId="{151EF22F-6546-46B2-A59A-CA777817E61A}"/>
          </ac:spMkLst>
        </pc:spChg>
        <pc:spChg chg="mod">
          <ac:chgData name="David Schlund | EWI" userId="00272c2a-d16f-4eb8-86ba-c28bcace438c" providerId="ADAL" clId="{46E1544F-72D8-4254-8935-79928106F321}" dt="2021-04-23T14:05:35.812" v="8644"/>
          <ac:spMkLst>
            <pc:docMk/>
            <pc:sldMk cId="1129182750" sldId="279"/>
            <ac:spMk id="69" creationId="{6C4A136B-BC57-4DC9-A9CC-889265CE97A3}"/>
          </ac:spMkLst>
        </pc:spChg>
        <pc:spChg chg="mod topLvl">
          <ac:chgData name="David Schlund | EWI" userId="00272c2a-d16f-4eb8-86ba-c28bcace438c" providerId="ADAL" clId="{46E1544F-72D8-4254-8935-79928106F321}" dt="2021-04-26T14:40:31.412" v="15668" actId="165"/>
          <ac:spMkLst>
            <pc:docMk/>
            <pc:sldMk cId="1129182750" sldId="279"/>
            <ac:spMk id="70" creationId="{63A10342-68FC-468E-A92A-0B338FD3D3DE}"/>
          </ac:spMkLst>
        </pc:spChg>
        <pc:spChg chg="add del mod ord">
          <ac:chgData name="David Schlund | EWI" userId="00272c2a-d16f-4eb8-86ba-c28bcace438c" providerId="ADAL" clId="{46E1544F-72D8-4254-8935-79928106F321}" dt="2021-04-27T15:23:34.891" v="24302" actId="478"/>
          <ac:spMkLst>
            <pc:docMk/>
            <pc:sldMk cId="1129182750" sldId="279"/>
            <ac:spMk id="71" creationId="{9393300F-75F8-4AE0-BF23-E865C22BC574}"/>
          </ac:spMkLst>
        </pc:spChg>
        <pc:spChg chg="add del mod ord">
          <ac:chgData name="David Schlund | EWI" userId="00272c2a-d16f-4eb8-86ba-c28bcace438c" providerId="ADAL" clId="{46E1544F-72D8-4254-8935-79928106F321}" dt="2021-04-27T15:23:32.113" v="24301" actId="478"/>
          <ac:spMkLst>
            <pc:docMk/>
            <pc:sldMk cId="1129182750" sldId="279"/>
            <ac:spMk id="72" creationId="{747CFAD4-255B-4076-97DB-37271323939F}"/>
          </ac:spMkLst>
        </pc:spChg>
        <pc:spChg chg="add mod">
          <ac:chgData name="David Schlund | EWI" userId="00272c2a-d16f-4eb8-86ba-c28bcace438c" providerId="ADAL" clId="{46E1544F-72D8-4254-8935-79928106F321}" dt="2021-04-26T14:25:58.697" v="14975"/>
          <ac:spMkLst>
            <pc:docMk/>
            <pc:sldMk cId="1129182750" sldId="279"/>
            <ac:spMk id="74" creationId="{36A20806-2B77-424B-8D03-89B64ED109A4}"/>
          </ac:spMkLst>
        </pc:spChg>
        <pc:spChg chg="mod">
          <ac:chgData name="David Schlund | EWI" userId="00272c2a-d16f-4eb8-86ba-c28bcace438c" providerId="ADAL" clId="{46E1544F-72D8-4254-8935-79928106F321}" dt="2021-04-26T14:40:31.412" v="15668" actId="165"/>
          <ac:spMkLst>
            <pc:docMk/>
            <pc:sldMk cId="1129182750" sldId="279"/>
            <ac:spMk id="77" creationId="{E7420639-9DA0-45A7-B907-3A6D29D06F6A}"/>
          </ac:spMkLst>
        </pc:spChg>
        <pc:spChg chg="mod ord topLvl">
          <ac:chgData name="David Schlund | EWI" userId="00272c2a-d16f-4eb8-86ba-c28bcace438c" providerId="ADAL" clId="{46E1544F-72D8-4254-8935-79928106F321}" dt="2021-04-27T15:23:14.101" v="24290"/>
          <ac:spMkLst>
            <pc:docMk/>
            <pc:sldMk cId="1129182750" sldId="279"/>
            <ac:spMk id="83" creationId="{5ECF83C0-88BF-4D00-A9F2-A6A0EC135403}"/>
          </ac:spMkLst>
        </pc:spChg>
        <pc:spChg chg="mod">
          <ac:chgData name="David Schlund | EWI" userId="00272c2a-d16f-4eb8-86ba-c28bcace438c" providerId="ADAL" clId="{46E1544F-72D8-4254-8935-79928106F321}" dt="2021-04-26T14:29:02.794" v="15032"/>
          <ac:spMkLst>
            <pc:docMk/>
            <pc:sldMk cId="1129182750" sldId="279"/>
            <ac:spMk id="89" creationId="{DBB91FD8-CA26-44FB-88AE-6CCE2C2CB021}"/>
          </ac:spMkLst>
        </pc:spChg>
        <pc:spChg chg="mod">
          <ac:chgData name="David Schlund | EWI" userId="00272c2a-d16f-4eb8-86ba-c28bcace438c" providerId="ADAL" clId="{46E1544F-72D8-4254-8935-79928106F321}" dt="2021-04-26T14:29:02.794" v="15032"/>
          <ac:spMkLst>
            <pc:docMk/>
            <pc:sldMk cId="1129182750" sldId="279"/>
            <ac:spMk id="94" creationId="{9BE1D7A8-ED50-4A42-A2E6-66871AE2BAB3}"/>
          </ac:spMkLst>
        </pc:spChg>
        <pc:spChg chg="mod">
          <ac:chgData name="David Schlund | EWI" userId="00272c2a-d16f-4eb8-86ba-c28bcace438c" providerId="ADAL" clId="{46E1544F-72D8-4254-8935-79928106F321}" dt="2021-04-27T15:22:25.857" v="24245"/>
          <ac:spMkLst>
            <pc:docMk/>
            <pc:sldMk cId="1129182750" sldId="279"/>
            <ac:spMk id="95" creationId="{002F20B6-A5FA-4F92-8FE9-FD8266145D23}"/>
          </ac:spMkLst>
        </pc:spChg>
        <pc:spChg chg="mod">
          <ac:chgData name="David Schlund | EWI" userId="00272c2a-d16f-4eb8-86ba-c28bcace438c" providerId="ADAL" clId="{46E1544F-72D8-4254-8935-79928106F321}" dt="2021-04-26T14:29:02.794" v="15032"/>
          <ac:spMkLst>
            <pc:docMk/>
            <pc:sldMk cId="1129182750" sldId="279"/>
            <ac:spMk id="95" creationId="{D8512229-FD02-4763-BAE5-6F447123CBCB}"/>
          </ac:spMkLst>
        </pc:spChg>
        <pc:spChg chg="mod">
          <ac:chgData name="David Schlund | EWI" userId="00272c2a-d16f-4eb8-86ba-c28bcace438c" providerId="ADAL" clId="{46E1544F-72D8-4254-8935-79928106F321}" dt="2021-04-27T15:22:25.857" v="24245"/>
          <ac:spMkLst>
            <pc:docMk/>
            <pc:sldMk cId="1129182750" sldId="279"/>
            <ac:spMk id="97" creationId="{CF2F4920-C49E-41B2-99E7-2636300CC6A6}"/>
          </ac:spMkLst>
        </pc:spChg>
        <pc:spChg chg="add mod ord">
          <ac:chgData name="David Schlund | EWI" userId="00272c2a-d16f-4eb8-86ba-c28bcace438c" providerId="ADAL" clId="{46E1544F-72D8-4254-8935-79928106F321}" dt="2021-04-27T15:23:14.098" v="24274"/>
          <ac:spMkLst>
            <pc:docMk/>
            <pc:sldMk cId="1129182750" sldId="279"/>
            <ac:spMk id="98" creationId="{C957BBF0-E923-4EA8-A9F6-BBA83C8BF78A}"/>
          </ac:spMkLst>
        </pc:spChg>
        <pc:spChg chg="mod">
          <ac:chgData name="David Schlund | EWI" userId="00272c2a-d16f-4eb8-86ba-c28bcace438c" providerId="ADAL" clId="{46E1544F-72D8-4254-8935-79928106F321}" dt="2021-04-26T14:30:29.279" v="15092"/>
          <ac:spMkLst>
            <pc:docMk/>
            <pc:sldMk cId="1129182750" sldId="279"/>
            <ac:spMk id="100" creationId="{318D2063-1FB1-4076-BA58-D3698D9B7E65}"/>
          </ac:spMkLst>
        </pc:spChg>
        <pc:spChg chg="mod">
          <ac:chgData name="David Schlund | EWI" userId="00272c2a-d16f-4eb8-86ba-c28bcace438c" providerId="ADAL" clId="{46E1544F-72D8-4254-8935-79928106F321}" dt="2021-04-26T14:30:29.279" v="15092"/>
          <ac:spMkLst>
            <pc:docMk/>
            <pc:sldMk cId="1129182750" sldId="279"/>
            <ac:spMk id="105" creationId="{1E404B4B-0E40-415C-B81D-DA29B66AD9DA}"/>
          </ac:spMkLst>
        </pc:spChg>
        <pc:spChg chg="mod">
          <ac:chgData name="David Schlund | EWI" userId="00272c2a-d16f-4eb8-86ba-c28bcace438c" providerId="ADAL" clId="{46E1544F-72D8-4254-8935-79928106F321}" dt="2021-04-26T14:30:29.279" v="15092"/>
          <ac:spMkLst>
            <pc:docMk/>
            <pc:sldMk cId="1129182750" sldId="279"/>
            <ac:spMk id="106" creationId="{8049DFF6-006D-4B5A-A866-6F820711E860}"/>
          </ac:spMkLst>
        </pc:spChg>
        <pc:spChg chg="add mod">
          <ac:chgData name="David Schlund | EWI" userId="00272c2a-d16f-4eb8-86ba-c28bcace438c" providerId="ADAL" clId="{46E1544F-72D8-4254-8935-79928106F321}" dt="2021-04-26T14:33:06.217" v="15192" actId="20577"/>
          <ac:spMkLst>
            <pc:docMk/>
            <pc:sldMk cId="1129182750" sldId="279"/>
            <ac:spMk id="108" creationId="{4CA67138-C0E5-4BA7-B41E-46B51A67647A}"/>
          </ac:spMkLst>
        </pc:spChg>
        <pc:spChg chg="mod">
          <ac:chgData name="David Schlund | EWI" userId="00272c2a-d16f-4eb8-86ba-c28bcace438c" providerId="ADAL" clId="{46E1544F-72D8-4254-8935-79928106F321}" dt="2021-04-26T14:30:41.144" v="15095"/>
          <ac:spMkLst>
            <pc:docMk/>
            <pc:sldMk cId="1129182750" sldId="279"/>
            <ac:spMk id="110" creationId="{D364250E-2260-4DB3-A0A6-9CDA31F4124A}"/>
          </ac:spMkLst>
        </pc:spChg>
        <pc:spChg chg="mod">
          <ac:chgData name="David Schlund | EWI" userId="00272c2a-d16f-4eb8-86ba-c28bcace438c" providerId="ADAL" clId="{46E1544F-72D8-4254-8935-79928106F321}" dt="2021-04-26T14:30:41.144" v="15095"/>
          <ac:spMkLst>
            <pc:docMk/>
            <pc:sldMk cId="1129182750" sldId="279"/>
            <ac:spMk id="115" creationId="{CDCB2175-B35E-4B30-A913-708980EC5609}"/>
          </ac:spMkLst>
        </pc:spChg>
        <pc:spChg chg="mod">
          <ac:chgData name="David Schlund | EWI" userId="00272c2a-d16f-4eb8-86ba-c28bcace438c" providerId="ADAL" clId="{46E1544F-72D8-4254-8935-79928106F321}" dt="2021-04-26T14:30:41.144" v="15095"/>
          <ac:spMkLst>
            <pc:docMk/>
            <pc:sldMk cId="1129182750" sldId="279"/>
            <ac:spMk id="116" creationId="{C279F90C-142E-4262-89D2-8D9A7A79B80E}"/>
          </ac:spMkLst>
        </pc:spChg>
        <pc:spChg chg="add mod">
          <ac:chgData name="David Schlund | EWI" userId="00272c2a-d16f-4eb8-86ba-c28bcace438c" providerId="ADAL" clId="{46E1544F-72D8-4254-8935-79928106F321}" dt="2021-04-26T14:32:55.612" v="15166" actId="20577"/>
          <ac:spMkLst>
            <pc:docMk/>
            <pc:sldMk cId="1129182750" sldId="279"/>
            <ac:spMk id="118" creationId="{0AFC70B0-1571-4C39-8B6D-B9993A83A4F7}"/>
          </ac:spMkLst>
        </pc:spChg>
        <pc:spChg chg="mod">
          <ac:chgData name="David Schlund | EWI" userId="00272c2a-d16f-4eb8-86ba-c28bcace438c" providerId="ADAL" clId="{46E1544F-72D8-4254-8935-79928106F321}" dt="2021-04-26T14:31:03.817" v="15099"/>
          <ac:spMkLst>
            <pc:docMk/>
            <pc:sldMk cId="1129182750" sldId="279"/>
            <ac:spMk id="120" creationId="{410374E9-CBFC-4B22-9E41-ACBDFAE2E6E3}"/>
          </ac:spMkLst>
        </pc:spChg>
        <pc:spChg chg="mod">
          <ac:chgData name="David Schlund | EWI" userId="00272c2a-d16f-4eb8-86ba-c28bcace438c" providerId="ADAL" clId="{46E1544F-72D8-4254-8935-79928106F321}" dt="2021-04-27T15:22:25.857" v="24245"/>
          <ac:spMkLst>
            <pc:docMk/>
            <pc:sldMk cId="1129182750" sldId="279"/>
            <ac:spMk id="120" creationId="{A081079B-915B-4098-A453-67D968E19D1C}"/>
          </ac:spMkLst>
        </pc:spChg>
        <pc:spChg chg="mod">
          <ac:chgData name="David Schlund | EWI" userId="00272c2a-d16f-4eb8-86ba-c28bcace438c" providerId="ADAL" clId="{46E1544F-72D8-4254-8935-79928106F321}" dt="2021-04-27T15:22:25.857" v="24245"/>
          <ac:spMkLst>
            <pc:docMk/>
            <pc:sldMk cId="1129182750" sldId="279"/>
            <ac:spMk id="122" creationId="{7B390778-E68D-465A-8C3B-6E38BEED8FF3}"/>
          </ac:spMkLst>
        </pc:spChg>
        <pc:spChg chg="mod">
          <ac:chgData name="David Schlund | EWI" userId="00272c2a-d16f-4eb8-86ba-c28bcace438c" providerId="ADAL" clId="{46E1544F-72D8-4254-8935-79928106F321}" dt="2021-04-27T15:22:25.857" v="24245"/>
          <ac:spMkLst>
            <pc:docMk/>
            <pc:sldMk cId="1129182750" sldId="279"/>
            <ac:spMk id="123" creationId="{72F98EE5-0D57-4758-8B3E-715381ED28A1}"/>
          </ac:spMkLst>
        </pc:spChg>
        <pc:spChg chg="mod">
          <ac:chgData name="David Schlund | EWI" userId="00272c2a-d16f-4eb8-86ba-c28bcace438c" providerId="ADAL" clId="{46E1544F-72D8-4254-8935-79928106F321}" dt="2021-04-26T14:31:03.817" v="15099"/>
          <ac:spMkLst>
            <pc:docMk/>
            <pc:sldMk cId="1129182750" sldId="279"/>
            <ac:spMk id="125" creationId="{00DC7E90-9096-4487-9F22-5130BACC60F9}"/>
          </ac:spMkLst>
        </pc:spChg>
        <pc:spChg chg="mod">
          <ac:chgData name="David Schlund | EWI" userId="00272c2a-d16f-4eb8-86ba-c28bcace438c" providerId="ADAL" clId="{46E1544F-72D8-4254-8935-79928106F321}" dt="2021-04-27T15:23:10.465" v="24249"/>
          <ac:spMkLst>
            <pc:docMk/>
            <pc:sldMk cId="1129182750" sldId="279"/>
            <ac:spMk id="125" creationId="{AF805609-5C4C-4F33-8938-3222C3DB99FF}"/>
          </ac:spMkLst>
        </pc:spChg>
        <pc:spChg chg="mod">
          <ac:chgData name="David Schlund | EWI" userId="00272c2a-d16f-4eb8-86ba-c28bcace438c" providerId="ADAL" clId="{46E1544F-72D8-4254-8935-79928106F321}" dt="2021-04-26T14:31:03.817" v="15099"/>
          <ac:spMkLst>
            <pc:docMk/>
            <pc:sldMk cId="1129182750" sldId="279"/>
            <ac:spMk id="126" creationId="{553E50B6-B7BE-4DE2-9B7B-9CADD341B3F6}"/>
          </ac:spMkLst>
        </pc:spChg>
        <pc:spChg chg="mod">
          <ac:chgData name="David Schlund | EWI" userId="00272c2a-d16f-4eb8-86ba-c28bcace438c" providerId="ADAL" clId="{46E1544F-72D8-4254-8935-79928106F321}" dt="2021-04-27T15:23:10.465" v="24249"/>
          <ac:spMkLst>
            <pc:docMk/>
            <pc:sldMk cId="1129182750" sldId="279"/>
            <ac:spMk id="126" creationId="{F1E6A361-6B66-42E2-89A3-08CD944A6F85}"/>
          </ac:spMkLst>
        </pc:spChg>
        <pc:spChg chg="add del mod">
          <ac:chgData name="David Schlund | EWI" userId="00272c2a-d16f-4eb8-86ba-c28bcace438c" providerId="ADAL" clId="{46E1544F-72D8-4254-8935-79928106F321}" dt="2021-04-26T14:34:11.212" v="15198" actId="478"/>
          <ac:spMkLst>
            <pc:docMk/>
            <pc:sldMk cId="1129182750" sldId="279"/>
            <ac:spMk id="127" creationId="{1891CD7F-3F8B-4355-B89B-7D84EA7780A0}"/>
          </ac:spMkLst>
        </pc:spChg>
        <pc:spChg chg="mod">
          <ac:chgData name="David Schlund | EWI" userId="00272c2a-d16f-4eb8-86ba-c28bcace438c" providerId="ADAL" clId="{46E1544F-72D8-4254-8935-79928106F321}" dt="2021-04-27T15:23:10.465" v="24249"/>
          <ac:spMkLst>
            <pc:docMk/>
            <pc:sldMk cId="1129182750" sldId="279"/>
            <ac:spMk id="128" creationId="{24B99D05-F213-4014-BF4B-04A27451B861}"/>
          </ac:spMkLst>
        </pc:spChg>
        <pc:spChg chg="mod">
          <ac:chgData name="David Schlund | EWI" userId="00272c2a-d16f-4eb8-86ba-c28bcace438c" providerId="ADAL" clId="{46E1544F-72D8-4254-8935-79928106F321}" dt="2021-04-27T15:23:10.465" v="24249"/>
          <ac:spMkLst>
            <pc:docMk/>
            <pc:sldMk cId="1129182750" sldId="279"/>
            <ac:spMk id="132" creationId="{0B0F5150-BFD0-45EF-AF8E-A313319D1B0A}"/>
          </ac:spMkLst>
        </pc:spChg>
        <pc:spChg chg="mod">
          <ac:chgData name="David Schlund | EWI" userId="00272c2a-d16f-4eb8-86ba-c28bcace438c" providerId="ADAL" clId="{46E1544F-72D8-4254-8935-79928106F321}" dt="2021-04-27T15:23:10.465" v="24249"/>
          <ac:spMkLst>
            <pc:docMk/>
            <pc:sldMk cId="1129182750" sldId="279"/>
            <ac:spMk id="134" creationId="{4BDF123E-AC0F-4449-BA28-8C201388A478}"/>
          </ac:spMkLst>
        </pc:spChg>
        <pc:spChg chg="mod">
          <ac:chgData name="David Schlund | EWI" userId="00272c2a-d16f-4eb8-86ba-c28bcace438c" providerId="ADAL" clId="{46E1544F-72D8-4254-8935-79928106F321}" dt="2021-04-27T15:23:10.465" v="24249"/>
          <ac:spMkLst>
            <pc:docMk/>
            <pc:sldMk cId="1129182750" sldId="279"/>
            <ac:spMk id="135" creationId="{E59DA17F-E4E4-4460-99E7-DA051D1CCD6C}"/>
          </ac:spMkLst>
        </pc:spChg>
        <pc:spChg chg="mod">
          <ac:chgData name="David Schlund | EWI" userId="00272c2a-d16f-4eb8-86ba-c28bcace438c" providerId="ADAL" clId="{46E1544F-72D8-4254-8935-79928106F321}" dt="2021-04-27T14:21:12.216" v="23308" actId="20577"/>
          <ac:spMkLst>
            <pc:docMk/>
            <pc:sldMk cId="1129182750" sldId="279"/>
            <ac:spMk id="141" creationId="{36234473-0062-4746-802A-F4ED64F20401}"/>
          </ac:spMkLst>
        </pc:spChg>
        <pc:spChg chg="mod">
          <ac:chgData name="David Schlund | EWI" userId="00272c2a-d16f-4eb8-86ba-c28bcace438c" providerId="ADAL" clId="{46E1544F-72D8-4254-8935-79928106F321}" dt="2021-04-26T14:34:13.270" v="15199"/>
          <ac:spMkLst>
            <pc:docMk/>
            <pc:sldMk cId="1129182750" sldId="279"/>
            <ac:spMk id="142" creationId="{AE97F5DB-F41C-4952-AC5D-A04F78446AEC}"/>
          </ac:spMkLst>
        </pc:spChg>
        <pc:spChg chg="mod">
          <ac:chgData name="David Schlund | EWI" userId="00272c2a-d16f-4eb8-86ba-c28bcace438c" providerId="ADAL" clId="{46E1544F-72D8-4254-8935-79928106F321}" dt="2021-04-26T14:34:13.270" v="15199"/>
          <ac:spMkLst>
            <pc:docMk/>
            <pc:sldMk cId="1129182750" sldId="279"/>
            <ac:spMk id="147" creationId="{E8652353-5B5B-47A1-B65E-A07831DC021B}"/>
          </ac:spMkLst>
        </pc:spChg>
        <pc:spChg chg="mod">
          <ac:chgData name="David Schlund | EWI" userId="00272c2a-d16f-4eb8-86ba-c28bcace438c" providerId="ADAL" clId="{46E1544F-72D8-4254-8935-79928106F321}" dt="2021-04-26T14:34:13.270" v="15199"/>
          <ac:spMkLst>
            <pc:docMk/>
            <pc:sldMk cId="1129182750" sldId="279"/>
            <ac:spMk id="148" creationId="{BEDDA0D4-282B-4F33-9D7E-0D9ADAA5A577}"/>
          </ac:spMkLst>
        </pc:spChg>
        <pc:spChg chg="mod">
          <ac:chgData name="David Schlund | EWI" userId="00272c2a-d16f-4eb8-86ba-c28bcace438c" providerId="ADAL" clId="{46E1544F-72D8-4254-8935-79928106F321}" dt="2021-04-26T14:40:57.656" v="15672" actId="571"/>
          <ac:spMkLst>
            <pc:docMk/>
            <pc:sldMk cId="1129182750" sldId="279"/>
            <ac:spMk id="158" creationId="{00214A9A-EFB2-4F90-89C6-5A36073DE155}"/>
          </ac:spMkLst>
        </pc:spChg>
        <pc:spChg chg="mod">
          <ac:chgData name="David Schlund | EWI" userId="00272c2a-d16f-4eb8-86ba-c28bcace438c" providerId="ADAL" clId="{46E1544F-72D8-4254-8935-79928106F321}" dt="2021-04-26T14:40:57.656" v="15672" actId="571"/>
          <ac:spMkLst>
            <pc:docMk/>
            <pc:sldMk cId="1129182750" sldId="279"/>
            <ac:spMk id="159" creationId="{ECCFC4BB-1A78-4B2C-BF64-EE6725C9874A}"/>
          </ac:spMkLst>
        </pc:spChg>
        <pc:spChg chg="mod">
          <ac:chgData name="David Schlund | EWI" userId="00272c2a-d16f-4eb8-86ba-c28bcace438c" providerId="ADAL" clId="{46E1544F-72D8-4254-8935-79928106F321}" dt="2021-04-26T14:40:57.656" v="15672" actId="571"/>
          <ac:spMkLst>
            <pc:docMk/>
            <pc:sldMk cId="1129182750" sldId="279"/>
            <ac:spMk id="164" creationId="{D3C0130C-7A38-4AED-ABE3-72872359CABE}"/>
          </ac:spMkLst>
        </pc:spChg>
        <pc:spChg chg="mod">
          <ac:chgData name="David Schlund | EWI" userId="00272c2a-d16f-4eb8-86ba-c28bcace438c" providerId="ADAL" clId="{46E1544F-72D8-4254-8935-79928106F321}" dt="2021-04-26T14:40:57.656" v="15672" actId="571"/>
          <ac:spMkLst>
            <pc:docMk/>
            <pc:sldMk cId="1129182750" sldId="279"/>
            <ac:spMk id="165" creationId="{44DF527A-0E8E-4D3F-AF2B-FC015589EE03}"/>
          </ac:spMkLst>
        </pc:spChg>
        <pc:spChg chg="add del mod modVis">
          <ac:chgData name="David Schlund | EWI" userId="00272c2a-d16f-4eb8-86ba-c28bcace438c" providerId="ADAL" clId="{46E1544F-72D8-4254-8935-79928106F321}" dt="2021-04-26T14:43:59.032" v="16045"/>
          <ac:spMkLst>
            <pc:docMk/>
            <pc:sldMk cId="1129182750" sldId="279"/>
            <ac:spMk id="167" creationId="{26599C50-024D-4458-86A7-25A7DB8C7AB0}"/>
          </ac:spMkLst>
        </pc:spChg>
        <pc:spChg chg="add del mod modVis">
          <ac:chgData name="David Schlund | EWI" userId="00272c2a-d16f-4eb8-86ba-c28bcace438c" providerId="ADAL" clId="{46E1544F-72D8-4254-8935-79928106F321}" dt="2021-04-26T14:44:00.410" v="16090"/>
          <ac:spMkLst>
            <pc:docMk/>
            <pc:sldMk cId="1129182750" sldId="279"/>
            <ac:spMk id="168" creationId="{319FD8BF-DB9D-4FD3-B1CF-22882ECD130D}"/>
          </ac:spMkLst>
        </pc:spChg>
        <pc:spChg chg="mod">
          <ac:chgData name="David Schlund | EWI" userId="00272c2a-d16f-4eb8-86ba-c28bcace438c" providerId="ADAL" clId="{46E1544F-72D8-4254-8935-79928106F321}" dt="2021-04-27T14:19:34.223" v="23241" actId="20577"/>
          <ac:spMkLst>
            <pc:docMk/>
            <pc:sldMk cId="1129182750" sldId="279"/>
            <ac:spMk id="171" creationId="{4B4B1FAE-1312-466E-AD33-28ED056E7139}"/>
          </ac:spMkLst>
        </pc:spChg>
        <pc:spChg chg="mod">
          <ac:chgData name="David Schlund | EWI" userId="00272c2a-d16f-4eb8-86ba-c28bcace438c" providerId="ADAL" clId="{46E1544F-72D8-4254-8935-79928106F321}" dt="2021-04-26T14:50:21.278" v="16345"/>
          <ac:spMkLst>
            <pc:docMk/>
            <pc:sldMk cId="1129182750" sldId="279"/>
            <ac:spMk id="173" creationId="{3AACCA84-79AB-4093-A6A5-6C406FBA5EB4}"/>
          </ac:spMkLst>
        </pc:spChg>
        <pc:spChg chg="mod">
          <ac:chgData name="David Schlund | EWI" userId="00272c2a-d16f-4eb8-86ba-c28bcace438c" providerId="ADAL" clId="{46E1544F-72D8-4254-8935-79928106F321}" dt="2021-04-26T14:50:21.278" v="16345"/>
          <ac:spMkLst>
            <pc:docMk/>
            <pc:sldMk cId="1129182750" sldId="279"/>
            <ac:spMk id="175" creationId="{BCC022EF-6472-400C-AFE6-5D10F8F48AA9}"/>
          </ac:spMkLst>
        </pc:spChg>
        <pc:spChg chg="mod">
          <ac:chgData name="David Schlund | EWI" userId="00272c2a-d16f-4eb8-86ba-c28bcace438c" providerId="ADAL" clId="{46E1544F-72D8-4254-8935-79928106F321}" dt="2021-04-26T14:50:21.278" v="16345"/>
          <ac:spMkLst>
            <pc:docMk/>
            <pc:sldMk cId="1129182750" sldId="279"/>
            <ac:spMk id="176" creationId="{4DE6DC8B-FFF6-4B8B-ABCA-EFC0324A88D2}"/>
          </ac:spMkLst>
        </pc:spChg>
        <pc:grpChg chg="del mod ord">
          <ac:chgData name="David Schlund | EWI" userId="00272c2a-d16f-4eb8-86ba-c28bcace438c" providerId="ADAL" clId="{46E1544F-72D8-4254-8935-79928106F321}" dt="2021-04-26T14:08:57.541" v="14760" actId="165"/>
          <ac:grpSpMkLst>
            <pc:docMk/>
            <pc:sldMk cId="1129182750" sldId="279"/>
            <ac:grpSpMk id="7" creationId="{C66E9B53-2877-489C-970D-F91FC5CF2D35}"/>
          </ac:grpSpMkLst>
        </pc:grpChg>
        <pc:grpChg chg="mod ord">
          <ac:chgData name="David Schlund | EWI" userId="00272c2a-d16f-4eb8-86ba-c28bcace438c" providerId="ADAL" clId="{46E1544F-72D8-4254-8935-79928106F321}" dt="2021-04-23T14:05:25.329" v="8639" actId="164"/>
          <ac:grpSpMkLst>
            <pc:docMk/>
            <pc:sldMk cId="1129182750" sldId="279"/>
            <ac:grpSpMk id="24" creationId="{25E09B6B-269D-45D8-878E-AE12B63F4BC8}"/>
          </ac:grpSpMkLst>
        </pc:grpChg>
        <pc:grpChg chg="add del mod">
          <ac:chgData name="David Schlund | EWI" userId="00272c2a-d16f-4eb8-86ba-c28bcace438c" providerId="ADAL" clId="{46E1544F-72D8-4254-8935-79928106F321}" dt="2021-04-26T14:30:58.795" v="15097" actId="478"/>
          <ac:grpSpMkLst>
            <pc:docMk/>
            <pc:sldMk cId="1129182750" sldId="279"/>
            <ac:grpSpMk id="24" creationId="{FE39BB1C-4D48-4F4E-9CA6-41E9DEDEA8BB}"/>
          </ac:grpSpMkLst>
        </pc:grpChg>
        <pc:grpChg chg="add mod ord">
          <ac:chgData name="David Schlund | EWI" userId="00272c2a-d16f-4eb8-86ba-c28bcace438c" providerId="ADAL" clId="{46E1544F-72D8-4254-8935-79928106F321}" dt="2021-04-27T15:23:14.093" v="24258"/>
          <ac:grpSpMkLst>
            <pc:docMk/>
            <pc:sldMk cId="1129182750" sldId="279"/>
            <ac:grpSpMk id="25" creationId="{53922B24-8FE5-43E6-BCA1-92B113245AB5}"/>
          </ac:grpSpMkLst>
        </pc:grpChg>
        <pc:grpChg chg="add del mod">
          <ac:chgData name="David Schlund | EWI" userId="00272c2a-d16f-4eb8-86ba-c28bcace438c" providerId="ADAL" clId="{46E1544F-72D8-4254-8935-79928106F321}" dt="2021-04-26T14:26:02.772" v="14978" actId="478"/>
          <ac:grpSpMkLst>
            <pc:docMk/>
            <pc:sldMk cId="1129182750" sldId="279"/>
            <ac:grpSpMk id="26" creationId="{2D780E67-1E04-48C7-98E8-1E985CAC8770}"/>
          </ac:grpSpMkLst>
        </pc:grpChg>
        <pc:grpChg chg="add del mod">
          <ac:chgData name="David Schlund | EWI" userId="00272c2a-d16f-4eb8-86ba-c28bcace438c" providerId="ADAL" clId="{46E1544F-72D8-4254-8935-79928106F321}" dt="2021-04-26T14:26:24.543" v="14992" actId="478"/>
          <ac:grpSpMkLst>
            <pc:docMk/>
            <pc:sldMk cId="1129182750" sldId="279"/>
            <ac:grpSpMk id="27" creationId="{5F59090B-B645-48B5-90E9-9E12EBDF0332}"/>
          </ac:grpSpMkLst>
        </pc:grpChg>
        <pc:grpChg chg="add del mod">
          <ac:chgData name="David Schlund | EWI" userId="00272c2a-d16f-4eb8-86ba-c28bcace438c" providerId="ADAL" clId="{46E1544F-72D8-4254-8935-79928106F321}" dt="2021-04-23T14:05:49.306" v="8646" actId="478"/>
          <ac:grpSpMkLst>
            <pc:docMk/>
            <pc:sldMk cId="1129182750" sldId="279"/>
            <ac:grpSpMk id="32" creationId="{B86CC16F-E718-4AA8-881B-07BA9B53D131}"/>
          </ac:grpSpMkLst>
        </pc:grpChg>
        <pc:grpChg chg="del mod ord">
          <ac:chgData name="David Schlund | EWI" userId="00272c2a-d16f-4eb8-86ba-c28bcace438c" providerId="ADAL" clId="{46E1544F-72D8-4254-8935-79928106F321}" dt="2021-04-23T14:05:32.281" v="8642" actId="478"/>
          <ac:grpSpMkLst>
            <pc:docMk/>
            <pc:sldMk cId="1129182750" sldId="279"/>
            <ac:grpSpMk id="40" creationId="{B8D942D6-810B-4D0F-876C-1B40DA43B50D}"/>
          </ac:grpSpMkLst>
        </pc:grpChg>
        <pc:grpChg chg="add mod ord topLvl">
          <ac:chgData name="David Schlund | EWI" userId="00272c2a-d16f-4eb8-86ba-c28bcace438c" providerId="ADAL" clId="{46E1544F-72D8-4254-8935-79928106F321}" dt="2021-04-27T15:23:14.095" v="24264"/>
          <ac:grpSpMkLst>
            <pc:docMk/>
            <pc:sldMk cId="1129182750" sldId="279"/>
            <ac:grpSpMk id="43" creationId="{2AABBE1B-1399-4F03-B43B-86FEB7079495}"/>
          </ac:grpSpMkLst>
        </pc:grpChg>
        <pc:grpChg chg="del mod ord">
          <ac:chgData name="David Schlund | EWI" userId="00272c2a-d16f-4eb8-86ba-c28bcace438c" providerId="ADAL" clId="{46E1544F-72D8-4254-8935-79928106F321}" dt="2021-04-23T14:05:33.082" v="8643" actId="478"/>
          <ac:grpSpMkLst>
            <pc:docMk/>
            <pc:sldMk cId="1129182750" sldId="279"/>
            <ac:grpSpMk id="46" creationId="{4679F4C6-8496-49AE-AE5C-776F28B407C8}"/>
          </ac:grpSpMkLst>
        </pc:grpChg>
        <pc:grpChg chg="add del mod">
          <ac:chgData name="David Schlund | EWI" userId="00272c2a-d16f-4eb8-86ba-c28bcace438c" providerId="ADAL" clId="{46E1544F-72D8-4254-8935-79928106F321}" dt="2021-04-26T14:40:31.412" v="15668" actId="165"/>
          <ac:grpSpMkLst>
            <pc:docMk/>
            <pc:sldMk cId="1129182750" sldId="279"/>
            <ac:grpSpMk id="48" creationId="{EE4F3681-5B4D-4503-90BA-180DFDA1AF2A}"/>
          </ac:grpSpMkLst>
        </pc:grpChg>
        <pc:grpChg chg="del mod ord">
          <ac:chgData name="David Schlund | EWI" userId="00272c2a-d16f-4eb8-86ba-c28bcace438c" providerId="ADAL" clId="{46E1544F-72D8-4254-8935-79928106F321}" dt="2021-04-23T14:05:31.204" v="8641" actId="478"/>
          <ac:grpSpMkLst>
            <pc:docMk/>
            <pc:sldMk cId="1129182750" sldId="279"/>
            <ac:grpSpMk id="52" creationId="{1692CFA7-44A7-4E74-9A1C-7339FE65EB23}"/>
          </ac:grpSpMkLst>
        </pc:grpChg>
        <pc:grpChg chg="add del mod">
          <ac:chgData name="David Schlund | EWI" userId="00272c2a-d16f-4eb8-86ba-c28bcace438c" providerId="ADAL" clId="{46E1544F-72D8-4254-8935-79928106F321}" dt="2021-04-26T14:25:07.070" v="14928" actId="478"/>
          <ac:grpSpMkLst>
            <pc:docMk/>
            <pc:sldMk cId="1129182750" sldId="279"/>
            <ac:grpSpMk id="57" creationId="{2FCE32E0-E804-4067-A3A9-CDA89C57735A}"/>
          </ac:grpSpMkLst>
        </pc:grpChg>
        <pc:grpChg chg="add mod ord">
          <ac:chgData name="David Schlund | EWI" userId="00272c2a-d16f-4eb8-86ba-c28bcace438c" providerId="ADAL" clId="{46E1544F-72D8-4254-8935-79928106F321}" dt="2021-04-27T15:23:14.094" v="24260"/>
          <ac:grpSpMkLst>
            <pc:docMk/>
            <pc:sldMk cId="1129182750" sldId="279"/>
            <ac:grpSpMk id="62" creationId="{1F3B635F-F688-4144-AE3F-33D8363686F5}"/>
          </ac:grpSpMkLst>
        </pc:grpChg>
        <pc:grpChg chg="mod">
          <ac:chgData name="David Schlund | EWI" userId="00272c2a-d16f-4eb8-86ba-c28bcace438c" providerId="ADAL" clId="{46E1544F-72D8-4254-8935-79928106F321}" dt="2021-04-23T14:05:35.812" v="8644"/>
          <ac:grpSpMkLst>
            <pc:docMk/>
            <pc:sldMk cId="1129182750" sldId="279"/>
            <ac:grpSpMk id="64" creationId="{85CFA2E7-07DF-4BE2-AE01-682653640012}"/>
          </ac:grpSpMkLst>
        </pc:grpChg>
        <pc:grpChg chg="add mod ord topLvl">
          <ac:chgData name="David Schlund | EWI" userId="00272c2a-d16f-4eb8-86ba-c28bcace438c" providerId="ADAL" clId="{46E1544F-72D8-4254-8935-79928106F321}" dt="2021-04-27T15:23:14.096" v="24266"/>
          <ac:grpSpMkLst>
            <pc:docMk/>
            <pc:sldMk cId="1129182750" sldId="279"/>
            <ac:grpSpMk id="76" creationId="{16B0D3C0-6D1B-46E0-BCA9-36192D210915}"/>
          </ac:grpSpMkLst>
        </pc:grpChg>
        <pc:grpChg chg="add del mod">
          <ac:chgData name="David Schlund | EWI" userId="00272c2a-d16f-4eb8-86ba-c28bcace438c" providerId="ADAL" clId="{46E1544F-72D8-4254-8935-79928106F321}" dt="2021-04-27T15:17:54.324" v="24084" actId="478"/>
          <ac:grpSpMkLst>
            <pc:docMk/>
            <pc:sldMk cId="1129182750" sldId="279"/>
            <ac:grpSpMk id="82" creationId="{3D385ACE-3DB1-4849-9795-2F2FFDD597C3}"/>
          </ac:grpSpMkLst>
        </pc:grpChg>
        <pc:grpChg chg="add del mod">
          <ac:chgData name="David Schlund | EWI" userId="00272c2a-d16f-4eb8-86ba-c28bcace438c" providerId="ADAL" clId="{46E1544F-72D8-4254-8935-79928106F321}" dt="2021-04-26T14:29:19.727" v="15037" actId="478"/>
          <ac:grpSpMkLst>
            <pc:docMk/>
            <pc:sldMk cId="1129182750" sldId="279"/>
            <ac:grpSpMk id="88" creationId="{F0BD7C13-BD70-44B6-A9F9-258BAED6CB16}"/>
          </ac:grpSpMkLst>
        </pc:grpChg>
        <pc:grpChg chg="mod">
          <ac:chgData name="David Schlund | EWI" userId="00272c2a-d16f-4eb8-86ba-c28bcace438c" providerId="ADAL" clId="{46E1544F-72D8-4254-8935-79928106F321}" dt="2021-04-26T14:29:02.794" v="15032"/>
          <ac:grpSpMkLst>
            <pc:docMk/>
            <pc:sldMk cId="1129182750" sldId="279"/>
            <ac:grpSpMk id="90" creationId="{EF25D114-E8B1-4A67-8D65-FFEE77DB48CC}"/>
          </ac:grpSpMkLst>
        </pc:grpChg>
        <pc:grpChg chg="add del mod">
          <ac:chgData name="David Schlund | EWI" userId="00272c2a-d16f-4eb8-86ba-c28bcace438c" providerId="ADAL" clId="{46E1544F-72D8-4254-8935-79928106F321}" dt="2021-04-27T15:22:31.154" v="24246"/>
          <ac:grpSpMkLst>
            <pc:docMk/>
            <pc:sldMk cId="1129182750" sldId="279"/>
            <ac:grpSpMk id="94" creationId="{E247D9B2-AB75-462C-9B8B-48285732F7B0}"/>
          </ac:grpSpMkLst>
        </pc:grpChg>
        <pc:grpChg chg="add mod">
          <ac:chgData name="David Schlund | EWI" userId="00272c2a-d16f-4eb8-86ba-c28bcace438c" providerId="ADAL" clId="{46E1544F-72D8-4254-8935-79928106F321}" dt="2021-04-26T14:31:49.482" v="15109" actId="164"/>
          <ac:grpSpMkLst>
            <pc:docMk/>
            <pc:sldMk cId="1129182750" sldId="279"/>
            <ac:grpSpMk id="99" creationId="{E02CF856-6AA3-4C5E-AEBB-94F73F181963}"/>
          </ac:grpSpMkLst>
        </pc:grpChg>
        <pc:grpChg chg="mod">
          <ac:chgData name="David Schlund | EWI" userId="00272c2a-d16f-4eb8-86ba-c28bcace438c" providerId="ADAL" clId="{46E1544F-72D8-4254-8935-79928106F321}" dt="2021-04-26T14:30:29.279" v="15092"/>
          <ac:grpSpMkLst>
            <pc:docMk/>
            <pc:sldMk cId="1129182750" sldId="279"/>
            <ac:grpSpMk id="101" creationId="{016A4DDC-7C68-4E7B-8D5C-F6C745152F51}"/>
          </ac:grpSpMkLst>
        </pc:grpChg>
        <pc:grpChg chg="add mod">
          <ac:chgData name="David Schlund | EWI" userId="00272c2a-d16f-4eb8-86ba-c28bcace438c" providerId="ADAL" clId="{46E1544F-72D8-4254-8935-79928106F321}" dt="2021-04-26T14:31:40.128" v="15107" actId="164"/>
          <ac:grpSpMkLst>
            <pc:docMk/>
            <pc:sldMk cId="1129182750" sldId="279"/>
            <ac:grpSpMk id="109" creationId="{FBB44C45-3D94-48B9-BAD0-D598F110E299}"/>
          </ac:grpSpMkLst>
        </pc:grpChg>
        <pc:grpChg chg="mod">
          <ac:chgData name="David Schlund | EWI" userId="00272c2a-d16f-4eb8-86ba-c28bcace438c" providerId="ADAL" clId="{46E1544F-72D8-4254-8935-79928106F321}" dt="2021-04-26T14:30:41.144" v="15095"/>
          <ac:grpSpMkLst>
            <pc:docMk/>
            <pc:sldMk cId="1129182750" sldId="279"/>
            <ac:grpSpMk id="111" creationId="{1474D72A-00DD-4A99-AE1D-63EFC2758AC6}"/>
          </ac:grpSpMkLst>
        </pc:grpChg>
        <pc:grpChg chg="add del mod">
          <ac:chgData name="David Schlund | EWI" userId="00272c2a-d16f-4eb8-86ba-c28bcace438c" providerId="ADAL" clId="{46E1544F-72D8-4254-8935-79928106F321}" dt="2021-04-26T14:34:11.212" v="15198" actId="478"/>
          <ac:grpSpMkLst>
            <pc:docMk/>
            <pc:sldMk cId="1129182750" sldId="279"/>
            <ac:grpSpMk id="119" creationId="{DE1035AA-1613-478D-AB18-174F7694A396}"/>
          </ac:grpSpMkLst>
        </pc:grpChg>
        <pc:grpChg chg="mod">
          <ac:chgData name="David Schlund | EWI" userId="00272c2a-d16f-4eb8-86ba-c28bcace438c" providerId="ADAL" clId="{46E1544F-72D8-4254-8935-79928106F321}" dt="2021-04-26T14:31:03.817" v="15099"/>
          <ac:grpSpMkLst>
            <pc:docMk/>
            <pc:sldMk cId="1129182750" sldId="279"/>
            <ac:grpSpMk id="121" creationId="{7ED2FD30-8201-451D-98A7-FE84095CF411}"/>
          </ac:grpSpMkLst>
        </pc:grpChg>
        <pc:grpChg chg="add mod ord modVis">
          <ac:chgData name="David Schlund | EWI" userId="00272c2a-d16f-4eb8-86ba-c28bcace438c" providerId="ADAL" clId="{46E1544F-72D8-4254-8935-79928106F321}" dt="2021-04-27T16:33:20.753" v="25152" actId="14429"/>
          <ac:grpSpMkLst>
            <pc:docMk/>
            <pc:sldMk cId="1129182750" sldId="279"/>
            <ac:grpSpMk id="124" creationId="{F6740254-A58A-43B5-835B-7C1FD973A1A5}"/>
          </ac:grpSpMkLst>
        </pc:grpChg>
        <pc:grpChg chg="add mod ord">
          <ac:chgData name="David Schlund | EWI" userId="00272c2a-d16f-4eb8-86ba-c28bcace438c" providerId="ADAL" clId="{46E1544F-72D8-4254-8935-79928106F321}" dt="2021-04-27T15:23:14.099" v="24282"/>
          <ac:grpSpMkLst>
            <pc:docMk/>
            <pc:sldMk cId="1129182750" sldId="279"/>
            <ac:grpSpMk id="130" creationId="{14495D87-3EB5-428A-9FEE-C11BBFA95CF4}"/>
          </ac:grpSpMkLst>
        </pc:grpChg>
        <pc:grpChg chg="add mod ord">
          <ac:chgData name="David Schlund | EWI" userId="00272c2a-d16f-4eb8-86ba-c28bcace438c" providerId="ADAL" clId="{46E1544F-72D8-4254-8935-79928106F321}" dt="2021-04-27T15:23:14.098" v="24278"/>
          <ac:grpSpMkLst>
            <pc:docMk/>
            <pc:sldMk cId="1129182750" sldId="279"/>
            <ac:grpSpMk id="131" creationId="{6F035A29-95D2-450C-99B9-C300A16E1EDC}"/>
          </ac:grpSpMkLst>
        </pc:grpChg>
        <pc:grpChg chg="add mod ord">
          <ac:chgData name="David Schlund | EWI" userId="00272c2a-d16f-4eb8-86ba-c28bcace438c" providerId="ADAL" clId="{46E1544F-72D8-4254-8935-79928106F321}" dt="2021-05-06T06:40:43.655" v="35620" actId="1076"/>
          <ac:grpSpMkLst>
            <pc:docMk/>
            <pc:sldMk cId="1129182750" sldId="279"/>
            <ac:grpSpMk id="139" creationId="{913DE9B7-B3BB-436E-A821-13E5AB81D9B9}"/>
          </ac:grpSpMkLst>
        </pc:grpChg>
        <pc:grpChg chg="mod">
          <ac:chgData name="David Schlund | EWI" userId="00272c2a-d16f-4eb8-86ba-c28bcace438c" providerId="ADAL" clId="{46E1544F-72D8-4254-8935-79928106F321}" dt="2021-04-26T14:34:13.270" v="15199"/>
          <ac:grpSpMkLst>
            <pc:docMk/>
            <pc:sldMk cId="1129182750" sldId="279"/>
            <ac:grpSpMk id="140" creationId="{83633893-642C-431C-B5A0-8F966663ACF1}"/>
          </ac:grpSpMkLst>
        </pc:grpChg>
        <pc:grpChg chg="mod">
          <ac:chgData name="David Schlund | EWI" userId="00272c2a-d16f-4eb8-86ba-c28bcace438c" providerId="ADAL" clId="{46E1544F-72D8-4254-8935-79928106F321}" dt="2021-04-26T14:34:13.270" v="15199"/>
          <ac:grpSpMkLst>
            <pc:docMk/>
            <pc:sldMk cId="1129182750" sldId="279"/>
            <ac:grpSpMk id="143" creationId="{411EB62F-E806-4F5D-B313-64FC52ACE92B}"/>
          </ac:grpSpMkLst>
        </pc:grpChg>
        <pc:grpChg chg="add mod">
          <ac:chgData name="David Schlund | EWI" userId="00272c2a-d16f-4eb8-86ba-c28bcace438c" providerId="ADAL" clId="{46E1544F-72D8-4254-8935-79928106F321}" dt="2021-04-26T14:40:57.656" v="15672" actId="571"/>
          <ac:grpSpMkLst>
            <pc:docMk/>
            <pc:sldMk cId="1129182750" sldId="279"/>
            <ac:grpSpMk id="156" creationId="{D18D4EB8-2E36-485A-95E3-A83A91547B45}"/>
          </ac:grpSpMkLst>
        </pc:grpChg>
        <pc:grpChg chg="mod">
          <ac:chgData name="David Schlund | EWI" userId="00272c2a-d16f-4eb8-86ba-c28bcace438c" providerId="ADAL" clId="{46E1544F-72D8-4254-8935-79928106F321}" dt="2021-04-26T14:40:57.656" v="15672" actId="571"/>
          <ac:grpSpMkLst>
            <pc:docMk/>
            <pc:sldMk cId="1129182750" sldId="279"/>
            <ac:grpSpMk id="157" creationId="{02089266-8C93-42F1-8906-2FDF901DC2A4}"/>
          </ac:grpSpMkLst>
        </pc:grpChg>
        <pc:grpChg chg="mod">
          <ac:chgData name="David Schlund | EWI" userId="00272c2a-d16f-4eb8-86ba-c28bcace438c" providerId="ADAL" clId="{46E1544F-72D8-4254-8935-79928106F321}" dt="2021-04-26T14:40:57.656" v="15672" actId="571"/>
          <ac:grpSpMkLst>
            <pc:docMk/>
            <pc:sldMk cId="1129182750" sldId="279"/>
            <ac:grpSpMk id="160" creationId="{31E8800C-C0DB-424D-9617-3659D286005B}"/>
          </ac:grpSpMkLst>
        </pc:grpChg>
        <pc:grpChg chg="add del mod ord">
          <ac:chgData name="David Schlund | EWI" userId="00272c2a-d16f-4eb8-86ba-c28bcace438c" providerId="ADAL" clId="{46E1544F-72D8-4254-8935-79928106F321}" dt="2021-04-27T15:19:49.506" v="24222" actId="478"/>
          <ac:grpSpMkLst>
            <pc:docMk/>
            <pc:sldMk cId="1129182750" sldId="279"/>
            <ac:grpSpMk id="169" creationId="{35FD6BA7-0055-4C15-9E76-05D6C165A87A}"/>
          </ac:grpSpMkLst>
        </pc:grpChg>
        <pc:graphicFrameChg chg="add mod ord modVis">
          <ac:chgData name="David Schlund | EWI" userId="00272c2a-d16f-4eb8-86ba-c28bcace438c" providerId="ADAL" clId="{46E1544F-72D8-4254-8935-79928106F321}" dt="2021-04-27T16:32:53.254" v="25147"/>
          <ac:graphicFrameMkLst>
            <pc:docMk/>
            <pc:sldMk cId="1129182750" sldId="279"/>
            <ac:graphicFrameMk id="31" creationId="{0062B284-37BE-473F-9B6B-C74668EFC09B}"/>
          </ac:graphicFrameMkLst>
        </pc:graphicFrameChg>
        <pc:picChg chg="add mod ord">
          <ac:chgData name="David Schlund | EWI" userId="00272c2a-d16f-4eb8-86ba-c28bcace438c" providerId="ADAL" clId="{46E1544F-72D8-4254-8935-79928106F321}" dt="2021-04-26T14:11:09.725" v="14832" actId="164"/>
          <ac:picMkLst>
            <pc:docMk/>
            <pc:sldMk cId="1129182750" sldId="279"/>
            <ac:picMk id="5" creationId="{0953F692-0AC7-4A4A-B3A5-8610C893A70C}"/>
          </ac:picMkLst>
        </pc:picChg>
        <pc:picChg chg="add mod ord">
          <ac:chgData name="David Schlund | EWI" userId="00272c2a-d16f-4eb8-86ba-c28bcace438c" providerId="ADAL" clId="{46E1544F-72D8-4254-8935-79928106F321}" dt="2021-04-26T14:10:42.674" v="14822" actId="164"/>
          <ac:picMkLst>
            <pc:docMk/>
            <pc:sldMk cId="1129182750" sldId="279"/>
            <ac:picMk id="16" creationId="{56230AA5-A9DA-4106-818B-4CFB18F068B4}"/>
          </ac:picMkLst>
        </pc:picChg>
        <pc:picChg chg="add mod ord">
          <ac:chgData name="David Schlund | EWI" userId="00272c2a-d16f-4eb8-86ba-c28bcace438c" providerId="ADAL" clId="{46E1544F-72D8-4254-8935-79928106F321}" dt="2021-04-26T14:11:17.404" v="14834" actId="164"/>
          <ac:picMkLst>
            <pc:docMk/>
            <pc:sldMk cId="1129182750" sldId="279"/>
            <ac:picMk id="21" creationId="{D64CC4E5-0A05-495D-916D-736C07E7E03F}"/>
          </ac:picMkLst>
        </pc:picChg>
        <pc:picChg chg="add del mod ord">
          <ac:chgData name="David Schlund | EWI" userId="00272c2a-d16f-4eb8-86ba-c28bcace438c" providerId="ADAL" clId="{46E1544F-72D8-4254-8935-79928106F321}" dt="2021-04-26T14:10:42.674" v="14822" actId="164"/>
          <ac:picMkLst>
            <pc:docMk/>
            <pc:sldMk cId="1129182750" sldId="279"/>
            <ac:picMk id="23" creationId="{136A03FE-B099-4312-89A3-61DD031C3726}"/>
          </ac:picMkLst>
        </pc:picChg>
        <pc:picChg chg="add mod ord">
          <ac:chgData name="David Schlund | EWI" userId="00272c2a-d16f-4eb8-86ba-c28bcace438c" providerId="ADAL" clId="{46E1544F-72D8-4254-8935-79928106F321}" dt="2021-04-26T14:46:06.299" v="16123"/>
          <ac:picMkLst>
            <pc:docMk/>
            <pc:sldMk cId="1129182750" sldId="279"/>
            <ac:picMk id="60" creationId="{CEB1D72E-173D-445C-B324-2D007F938DF5}"/>
          </ac:picMkLst>
        </pc:picChg>
        <pc:picChg chg="add mod ord">
          <ac:chgData name="David Schlund | EWI" userId="00272c2a-d16f-4eb8-86ba-c28bcace438c" providerId="ADAL" clId="{46E1544F-72D8-4254-8935-79928106F321}" dt="2021-04-26T14:46:02.683" v="16111"/>
          <ac:picMkLst>
            <pc:docMk/>
            <pc:sldMk cId="1129182750" sldId="279"/>
            <ac:picMk id="61" creationId="{FF8EE046-CAAD-49A0-BA2B-1D59D8DF78FB}"/>
          </ac:picMkLst>
        </pc:picChg>
        <pc:picChg chg="mod">
          <ac:chgData name="David Schlund | EWI" userId="00272c2a-d16f-4eb8-86ba-c28bcace438c" providerId="ADAL" clId="{46E1544F-72D8-4254-8935-79928106F321}" dt="2021-04-23T14:05:35.812" v="8644"/>
          <ac:picMkLst>
            <pc:docMk/>
            <pc:sldMk cId="1129182750" sldId="279"/>
            <ac:picMk id="65" creationId="{90277EF7-8FB4-4425-AC5D-E7688249E6F9}"/>
          </ac:picMkLst>
        </pc:picChg>
        <pc:picChg chg="mod">
          <ac:chgData name="David Schlund | EWI" userId="00272c2a-d16f-4eb8-86ba-c28bcace438c" providerId="ADAL" clId="{46E1544F-72D8-4254-8935-79928106F321}" dt="2021-04-23T14:05:35.812" v="8644"/>
          <ac:picMkLst>
            <pc:docMk/>
            <pc:sldMk cId="1129182750" sldId="279"/>
            <ac:picMk id="66" creationId="{398882EC-97A0-45AA-9219-7017C32855D8}"/>
          </ac:picMkLst>
        </pc:picChg>
        <pc:picChg chg="del mod topLvl">
          <ac:chgData name="David Schlund | EWI" userId="00272c2a-d16f-4eb8-86ba-c28bcace438c" providerId="ADAL" clId="{46E1544F-72D8-4254-8935-79928106F321}" dt="2021-04-26T14:25:07.070" v="14928" actId="478"/>
          <ac:picMkLst>
            <pc:docMk/>
            <pc:sldMk cId="1129182750" sldId="279"/>
            <ac:picMk id="71" creationId="{B79568BC-DEEC-419F-8B53-9762B9BBD7BE}"/>
          </ac:picMkLst>
        </pc:picChg>
        <pc:picChg chg="del mod">
          <ac:chgData name="David Schlund | EWI" userId="00272c2a-d16f-4eb8-86ba-c28bcace438c" providerId="ADAL" clId="{46E1544F-72D8-4254-8935-79928106F321}" dt="2021-04-26T14:25:04.260" v="14925" actId="478"/>
          <ac:picMkLst>
            <pc:docMk/>
            <pc:sldMk cId="1129182750" sldId="279"/>
            <ac:picMk id="72" creationId="{1AA1FCB7-F226-4FDE-93C9-72522A02DC42}"/>
          </ac:picMkLst>
        </pc:picChg>
        <pc:picChg chg="add mod">
          <ac:chgData name="David Schlund | EWI" userId="00272c2a-d16f-4eb8-86ba-c28bcace438c" providerId="ADAL" clId="{46E1544F-72D8-4254-8935-79928106F321}" dt="2021-04-26T14:46:09.520" v="16124" actId="207"/>
          <ac:picMkLst>
            <pc:docMk/>
            <pc:sldMk cId="1129182750" sldId="279"/>
            <ac:picMk id="73" creationId="{360D0266-5062-46CF-951E-8F6D7036DD09}"/>
          </ac:picMkLst>
        </pc:picChg>
        <pc:picChg chg="add mod">
          <ac:chgData name="David Schlund | EWI" userId="00272c2a-d16f-4eb8-86ba-c28bcace438c" providerId="ADAL" clId="{46E1544F-72D8-4254-8935-79928106F321}" dt="2021-04-26T14:25:58.697" v="14975"/>
          <ac:picMkLst>
            <pc:docMk/>
            <pc:sldMk cId="1129182750" sldId="279"/>
            <ac:picMk id="75" creationId="{2F687F4C-B447-4AA0-9D65-624A7586FD82}"/>
          </ac:picMkLst>
        </pc:picChg>
        <pc:picChg chg="mod">
          <ac:chgData name="David Schlund | EWI" userId="00272c2a-d16f-4eb8-86ba-c28bcace438c" providerId="ADAL" clId="{46E1544F-72D8-4254-8935-79928106F321}" dt="2021-04-26T14:46:12.198" v="16125" actId="207"/>
          <ac:picMkLst>
            <pc:docMk/>
            <pc:sldMk cId="1129182750" sldId="279"/>
            <ac:picMk id="78" creationId="{2AE5B664-A210-40B5-8568-7FDF02D86084}"/>
          </ac:picMkLst>
        </pc:picChg>
        <pc:picChg chg="del mod">
          <ac:chgData name="David Schlund | EWI" userId="00272c2a-d16f-4eb8-86ba-c28bcace438c" providerId="ADAL" clId="{46E1544F-72D8-4254-8935-79928106F321}" dt="2021-04-27T15:17:51.351" v="24081" actId="478"/>
          <ac:picMkLst>
            <pc:docMk/>
            <pc:sldMk cId="1129182750" sldId="279"/>
            <ac:picMk id="84" creationId="{FF06A07F-2F4E-4B8F-BA0A-E6BACC4ECEA9}"/>
          </ac:picMkLst>
        </pc:picChg>
        <pc:picChg chg="del mod topLvl">
          <ac:chgData name="David Schlund | EWI" userId="00272c2a-d16f-4eb8-86ba-c28bcace438c" providerId="ADAL" clId="{46E1544F-72D8-4254-8935-79928106F321}" dt="2021-04-27T15:17:54.324" v="24084" actId="478"/>
          <ac:picMkLst>
            <pc:docMk/>
            <pc:sldMk cId="1129182750" sldId="279"/>
            <ac:picMk id="85" creationId="{DF1CA216-78AD-49EE-88F0-0FF6CF6B9943}"/>
          </ac:picMkLst>
        </pc:picChg>
        <pc:picChg chg="mod">
          <ac:chgData name="David Schlund | EWI" userId="00272c2a-d16f-4eb8-86ba-c28bcace438c" providerId="ADAL" clId="{46E1544F-72D8-4254-8935-79928106F321}" dt="2021-04-26T14:29:02.794" v="15032"/>
          <ac:picMkLst>
            <pc:docMk/>
            <pc:sldMk cId="1129182750" sldId="279"/>
            <ac:picMk id="91" creationId="{CFB1F74D-CE5D-404F-94F3-0ECF70113D31}"/>
          </ac:picMkLst>
        </pc:picChg>
        <pc:picChg chg="mod">
          <ac:chgData name="David Schlund | EWI" userId="00272c2a-d16f-4eb8-86ba-c28bcace438c" providerId="ADAL" clId="{46E1544F-72D8-4254-8935-79928106F321}" dt="2021-04-26T14:29:02.794" v="15032"/>
          <ac:picMkLst>
            <pc:docMk/>
            <pc:sldMk cId="1129182750" sldId="279"/>
            <ac:picMk id="92" creationId="{6EA7CF7F-1A9A-4078-8EF3-D65D61C5F501}"/>
          </ac:picMkLst>
        </pc:picChg>
        <pc:picChg chg="mod">
          <ac:chgData name="David Schlund | EWI" userId="00272c2a-d16f-4eb8-86ba-c28bcace438c" providerId="ADAL" clId="{46E1544F-72D8-4254-8935-79928106F321}" dt="2021-04-26T14:30:29.279" v="15092"/>
          <ac:picMkLst>
            <pc:docMk/>
            <pc:sldMk cId="1129182750" sldId="279"/>
            <ac:picMk id="102" creationId="{F00D4484-2089-4FC3-8658-3EA7B6F1B071}"/>
          </ac:picMkLst>
        </pc:picChg>
        <pc:picChg chg="mod">
          <ac:chgData name="David Schlund | EWI" userId="00272c2a-d16f-4eb8-86ba-c28bcace438c" providerId="ADAL" clId="{46E1544F-72D8-4254-8935-79928106F321}" dt="2021-04-26T14:30:29.279" v="15092"/>
          <ac:picMkLst>
            <pc:docMk/>
            <pc:sldMk cId="1129182750" sldId="279"/>
            <ac:picMk id="103" creationId="{F5BE04E0-30C7-4249-910A-B7550E8C3100}"/>
          </ac:picMkLst>
        </pc:picChg>
        <pc:picChg chg="mod">
          <ac:chgData name="David Schlund | EWI" userId="00272c2a-d16f-4eb8-86ba-c28bcace438c" providerId="ADAL" clId="{46E1544F-72D8-4254-8935-79928106F321}" dt="2021-04-26T14:30:41.144" v="15095"/>
          <ac:picMkLst>
            <pc:docMk/>
            <pc:sldMk cId="1129182750" sldId="279"/>
            <ac:picMk id="112" creationId="{6B2FBAF7-DD1E-4C2D-A438-95A9ED890873}"/>
          </ac:picMkLst>
        </pc:picChg>
        <pc:picChg chg="mod">
          <ac:chgData name="David Schlund | EWI" userId="00272c2a-d16f-4eb8-86ba-c28bcace438c" providerId="ADAL" clId="{46E1544F-72D8-4254-8935-79928106F321}" dt="2021-04-26T14:30:41.144" v="15095"/>
          <ac:picMkLst>
            <pc:docMk/>
            <pc:sldMk cId="1129182750" sldId="279"/>
            <ac:picMk id="113" creationId="{2EDDC432-355B-487F-93BD-C25C8ECECAAF}"/>
          </ac:picMkLst>
        </pc:picChg>
        <pc:picChg chg="mod">
          <ac:chgData name="David Schlund | EWI" userId="00272c2a-d16f-4eb8-86ba-c28bcace438c" providerId="ADAL" clId="{46E1544F-72D8-4254-8935-79928106F321}" dt="2021-04-26T14:31:03.817" v="15099"/>
          <ac:picMkLst>
            <pc:docMk/>
            <pc:sldMk cId="1129182750" sldId="279"/>
            <ac:picMk id="122" creationId="{F2EB2DAF-80B7-465C-A667-C95195213C4E}"/>
          </ac:picMkLst>
        </pc:picChg>
        <pc:picChg chg="mod">
          <ac:chgData name="David Schlund | EWI" userId="00272c2a-d16f-4eb8-86ba-c28bcace438c" providerId="ADAL" clId="{46E1544F-72D8-4254-8935-79928106F321}" dt="2021-04-26T14:31:03.817" v="15099"/>
          <ac:picMkLst>
            <pc:docMk/>
            <pc:sldMk cId="1129182750" sldId="279"/>
            <ac:picMk id="123" creationId="{FFD41F2C-D0E9-4667-8271-CA87A9906C9A}"/>
          </ac:picMkLst>
        </pc:picChg>
        <pc:picChg chg="mod">
          <ac:chgData name="David Schlund | EWI" userId="00272c2a-d16f-4eb8-86ba-c28bcace438c" providerId="ADAL" clId="{46E1544F-72D8-4254-8935-79928106F321}" dt="2021-04-26T14:34:13.270" v="15199"/>
          <ac:picMkLst>
            <pc:docMk/>
            <pc:sldMk cId="1129182750" sldId="279"/>
            <ac:picMk id="144" creationId="{1AA305CE-33EF-42EE-928B-AED150A2B1B5}"/>
          </ac:picMkLst>
        </pc:picChg>
        <pc:picChg chg="mod">
          <ac:chgData name="David Schlund | EWI" userId="00272c2a-d16f-4eb8-86ba-c28bcace438c" providerId="ADAL" clId="{46E1544F-72D8-4254-8935-79928106F321}" dt="2021-04-26T14:34:13.270" v="15199"/>
          <ac:picMkLst>
            <pc:docMk/>
            <pc:sldMk cId="1129182750" sldId="279"/>
            <ac:picMk id="145" creationId="{E6ED493C-9D9F-4664-826C-44C720883039}"/>
          </ac:picMkLst>
        </pc:picChg>
        <pc:picChg chg="mod">
          <ac:chgData name="David Schlund | EWI" userId="00272c2a-d16f-4eb8-86ba-c28bcace438c" providerId="ADAL" clId="{46E1544F-72D8-4254-8935-79928106F321}" dt="2021-04-26T14:40:57.656" v="15672" actId="571"/>
          <ac:picMkLst>
            <pc:docMk/>
            <pc:sldMk cId="1129182750" sldId="279"/>
            <ac:picMk id="161" creationId="{C0C1A09D-186E-4D17-BC91-24B2A7038B32}"/>
          </ac:picMkLst>
        </pc:picChg>
        <pc:picChg chg="mod">
          <ac:chgData name="David Schlund | EWI" userId="00272c2a-d16f-4eb8-86ba-c28bcace438c" providerId="ADAL" clId="{46E1544F-72D8-4254-8935-79928106F321}" dt="2021-04-26T14:40:57.656" v="15672" actId="571"/>
          <ac:picMkLst>
            <pc:docMk/>
            <pc:sldMk cId="1129182750" sldId="279"/>
            <ac:picMk id="162" creationId="{6D0A2E68-855F-4463-A90B-4DFD86D2472F}"/>
          </ac:picMkLst>
        </pc:picChg>
        <pc:picChg chg="add del mod">
          <ac:chgData name="David Schlund | EWI" userId="00272c2a-d16f-4eb8-86ba-c28bcace438c" providerId="ADAL" clId="{46E1544F-72D8-4254-8935-79928106F321}" dt="2021-04-26T14:43:32.231" v="15986" actId="478"/>
          <ac:picMkLst>
            <pc:docMk/>
            <pc:sldMk cId="1129182750" sldId="279"/>
            <ac:picMk id="166" creationId="{1B82BB4F-57A7-4A5A-9925-E411FA3737D0}"/>
          </ac:picMkLst>
        </pc:picChg>
        <pc:cxnChg chg="del mod topLvl">
          <ac:chgData name="David Schlund | EWI" userId="00272c2a-d16f-4eb8-86ba-c28bcace438c" providerId="ADAL" clId="{46E1544F-72D8-4254-8935-79928106F321}" dt="2021-04-26T14:24:42.068" v="14915" actId="478"/>
          <ac:cxnSpMkLst>
            <pc:docMk/>
            <pc:sldMk cId="1129182750" sldId="279"/>
            <ac:cxnSpMk id="10" creationId="{6829190F-0971-4EB4-9743-0F097281B7C1}"/>
          </ac:cxnSpMkLst>
        </pc:cxnChg>
        <pc:cxnChg chg="del mod topLvl">
          <ac:chgData name="David Schlund | EWI" userId="00272c2a-d16f-4eb8-86ba-c28bcace438c" providerId="ADAL" clId="{46E1544F-72D8-4254-8935-79928106F321}" dt="2021-04-26T14:24:47.294" v="14917" actId="478"/>
          <ac:cxnSpMkLst>
            <pc:docMk/>
            <pc:sldMk cId="1129182750" sldId="279"/>
            <ac:cxnSpMk id="11" creationId="{2476F211-82DD-4328-9F1C-CEE273CA342C}"/>
          </ac:cxnSpMkLst>
        </pc:cxnChg>
        <pc:cxnChg chg="add del mod">
          <ac:chgData name="David Schlund | EWI" userId="00272c2a-d16f-4eb8-86ba-c28bcace438c" providerId="ADAL" clId="{46E1544F-72D8-4254-8935-79928106F321}" dt="2021-04-27T15:18:22.081" v="24089" actId="478"/>
          <ac:cxnSpMkLst>
            <pc:docMk/>
            <pc:sldMk cId="1129182750" sldId="279"/>
            <ac:cxnSpMk id="11" creationId="{9A4E9383-E681-4F9F-8897-C66D6107619F}"/>
          </ac:cxnSpMkLst>
        </pc:cxnChg>
        <pc:cxnChg chg="del mod topLvl">
          <ac:chgData name="David Schlund | EWI" userId="00272c2a-d16f-4eb8-86ba-c28bcace438c" providerId="ADAL" clId="{46E1544F-72D8-4254-8935-79928106F321}" dt="2021-04-26T14:31:00.287" v="15098" actId="478"/>
          <ac:cxnSpMkLst>
            <pc:docMk/>
            <pc:sldMk cId="1129182750" sldId="279"/>
            <ac:cxnSpMk id="18" creationId="{2EF6670F-6FA9-44B0-8DBA-3A991DDF7257}"/>
          </ac:cxnSpMkLst>
        </pc:cxnChg>
        <pc:cxnChg chg="del mod topLvl">
          <ac:chgData name="David Schlund | EWI" userId="00272c2a-d16f-4eb8-86ba-c28bcace438c" providerId="ADAL" clId="{46E1544F-72D8-4254-8935-79928106F321}" dt="2021-04-26T14:13:38.525" v="14856" actId="478"/>
          <ac:cxnSpMkLst>
            <pc:docMk/>
            <pc:sldMk cId="1129182750" sldId="279"/>
            <ac:cxnSpMk id="19" creationId="{0348C5D4-95FD-4872-BFEB-480119541A07}"/>
          </ac:cxnSpMkLst>
        </pc:cxnChg>
        <pc:cxnChg chg="add mod ord">
          <ac:chgData name="David Schlund | EWI" userId="00272c2a-d16f-4eb8-86ba-c28bcace438c" providerId="ADAL" clId="{46E1544F-72D8-4254-8935-79928106F321}" dt="2021-05-06T06:40:43.655" v="35620" actId="1076"/>
          <ac:cxnSpMkLst>
            <pc:docMk/>
            <pc:sldMk cId="1129182750" sldId="279"/>
            <ac:cxnSpMk id="21" creationId="{0EB2A5A0-750C-46C3-824F-5B04EEC50333}"/>
          </ac:cxnSpMkLst>
        </pc:cxnChg>
        <pc:cxnChg chg="mod">
          <ac:chgData name="David Schlund | EWI" userId="00272c2a-d16f-4eb8-86ba-c28bcace438c" providerId="ADAL" clId="{46E1544F-72D8-4254-8935-79928106F321}" dt="2021-04-23T14:05:49.306" v="8646" actId="478"/>
          <ac:cxnSpMkLst>
            <pc:docMk/>
            <pc:sldMk cId="1129182750" sldId="279"/>
            <ac:cxnSpMk id="27" creationId="{ACD586C5-765B-4884-8153-E11396C50140}"/>
          </ac:cxnSpMkLst>
        </pc:cxnChg>
        <pc:cxnChg chg="add del mod">
          <ac:chgData name="David Schlund | EWI" userId="00272c2a-d16f-4eb8-86ba-c28bcace438c" providerId="ADAL" clId="{46E1544F-72D8-4254-8935-79928106F321}" dt="2021-04-23T14:06:36.463" v="8685" actId="478"/>
          <ac:cxnSpMkLst>
            <pc:docMk/>
            <pc:sldMk cId="1129182750" sldId="279"/>
            <ac:cxnSpMk id="36" creationId="{72BC6636-FCB2-4830-9EC6-83DA58592C9C}"/>
          </ac:cxnSpMkLst>
        </pc:cxnChg>
        <pc:cxnChg chg="mod">
          <ac:chgData name="David Schlund | EWI" userId="00272c2a-d16f-4eb8-86ba-c28bcace438c" providerId="ADAL" clId="{46E1544F-72D8-4254-8935-79928106F321}" dt="2021-04-23T14:05:32.281" v="8642" actId="478"/>
          <ac:cxnSpMkLst>
            <pc:docMk/>
            <pc:sldMk cId="1129182750" sldId="279"/>
            <ac:cxnSpMk id="43" creationId="{F8000C3D-831C-4AB6-8535-1E744F5BA3D2}"/>
          </ac:cxnSpMkLst>
        </pc:cxnChg>
        <pc:cxnChg chg="add mod ord">
          <ac:chgData name="David Schlund | EWI" userId="00272c2a-d16f-4eb8-86ba-c28bcace438c" providerId="ADAL" clId="{46E1544F-72D8-4254-8935-79928106F321}" dt="2021-04-27T15:23:14.096" v="24268"/>
          <ac:cxnSpMkLst>
            <pc:docMk/>
            <pc:sldMk cId="1129182750" sldId="279"/>
            <ac:cxnSpMk id="45" creationId="{C7124DA4-CE1A-40B5-BDCD-6D20D0E258E8}"/>
          </ac:cxnSpMkLst>
        </pc:cxnChg>
        <pc:cxnChg chg="mod">
          <ac:chgData name="David Schlund | EWI" userId="00272c2a-d16f-4eb8-86ba-c28bcace438c" providerId="ADAL" clId="{46E1544F-72D8-4254-8935-79928106F321}" dt="2021-04-23T14:05:33.082" v="8643" actId="478"/>
          <ac:cxnSpMkLst>
            <pc:docMk/>
            <pc:sldMk cId="1129182750" sldId="279"/>
            <ac:cxnSpMk id="49" creationId="{A13D1496-17E0-4679-8CB5-4E14EFA54A37}"/>
          </ac:cxnSpMkLst>
        </pc:cxnChg>
        <pc:cxnChg chg="add del mod">
          <ac:chgData name="David Schlund | EWI" userId="00272c2a-d16f-4eb8-86ba-c28bcace438c" providerId="ADAL" clId="{46E1544F-72D8-4254-8935-79928106F321}" dt="2021-04-26T14:24:49.110" v="14919" actId="478"/>
          <ac:cxnSpMkLst>
            <pc:docMk/>
            <pc:sldMk cId="1129182750" sldId="279"/>
            <ac:cxnSpMk id="49" creationId="{D0241D92-9DD6-4157-9D5F-004C9F4AD7A1}"/>
          </ac:cxnSpMkLst>
        </pc:cxnChg>
        <pc:cxnChg chg="add del mod">
          <ac:chgData name="David Schlund | EWI" userId="00272c2a-d16f-4eb8-86ba-c28bcace438c" providerId="ADAL" clId="{46E1544F-72D8-4254-8935-79928106F321}" dt="2021-04-26T14:24:49.760" v="14920" actId="478"/>
          <ac:cxnSpMkLst>
            <pc:docMk/>
            <pc:sldMk cId="1129182750" sldId="279"/>
            <ac:cxnSpMk id="54" creationId="{8DF9450C-DD62-4235-8DCF-893FD97F4DE0}"/>
          </ac:cxnSpMkLst>
        </pc:cxnChg>
        <pc:cxnChg chg="mod">
          <ac:chgData name="David Schlund | EWI" userId="00272c2a-d16f-4eb8-86ba-c28bcace438c" providerId="ADAL" clId="{46E1544F-72D8-4254-8935-79928106F321}" dt="2021-04-23T14:05:31.204" v="8641" actId="478"/>
          <ac:cxnSpMkLst>
            <pc:docMk/>
            <pc:sldMk cId="1129182750" sldId="279"/>
            <ac:cxnSpMk id="55" creationId="{816ACD01-4F7C-4EDF-91D5-3413A6FBE25B}"/>
          </ac:cxnSpMkLst>
        </pc:cxnChg>
        <pc:cxnChg chg="mod">
          <ac:chgData name="David Schlund | EWI" userId="00272c2a-d16f-4eb8-86ba-c28bcace438c" providerId="ADAL" clId="{46E1544F-72D8-4254-8935-79928106F321}" dt="2021-04-23T14:05:35.812" v="8644"/>
          <ac:cxnSpMkLst>
            <pc:docMk/>
            <pc:sldMk cId="1129182750" sldId="279"/>
            <ac:cxnSpMk id="67" creationId="{0065FB3C-8933-48CD-BDFF-A6FC0AEAF52D}"/>
          </ac:cxnSpMkLst>
        </pc:cxnChg>
        <pc:cxnChg chg="add mod ord">
          <ac:chgData name="David Schlund | EWI" userId="00272c2a-d16f-4eb8-86ba-c28bcace438c" providerId="ADAL" clId="{46E1544F-72D8-4254-8935-79928106F321}" dt="2021-04-27T15:23:14.097" v="24270"/>
          <ac:cxnSpMkLst>
            <pc:docMk/>
            <pc:sldMk cId="1129182750" sldId="279"/>
            <ac:cxnSpMk id="79" creationId="{1FC623A4-543C-4FCD-AF80-0DFE9AE4757B}"/>
          </ac:cxnSpMkLst>
        </pc:cxnChg>
        <pc:cxnChg chg="add mod ord">
          <ac:chgData name="David Schlund | EWI" userId="00272c2a-d16f-4eb8-86ba-c28bcace438c" providerId="ADAL" clId="{46E1544F-72D8-4254-8935-79928106F321}" dt="2021-04-27T15:23:14.101" v="24292"/>
          <ac:cxnSpMkLst>
            <pc:docMk/>
            <pc:sldMk cId="1129182750" sldId="279"/>
            <ac:cxnSpMk id="80" creationId="{8DAE1E90-919A-4327-AE70-86C010B67842}"/>
          </ac:cxnSpMkLst>
        </pc:cxnChg>
        <pc:cxnChg chg="add mod ord">
          <ac:chgData name="David Schlund | EWI" userId="00272c2a-d16f-4eb8-86ba-c28bcace438c" providerId="ADAL" clId="{46E1544F-72D8-4254-8935-79928106F321}" dt="2021-04-27T15:23:14.101" v="24294"/>
          <ac:cxnSpMkLst>
            <pc:docMk/>
            <pc:sldMk cId="1129182750" sldId="279"/>
            <ac:cxnSpMk id="81" creationId="{64285182-E604-433A-9137-109B40946FA5}"/>
          </ac:cxnSpMkLst>
        </pc:cxnChg>
        <pc:cxnChg chg="add del mod">
          <ac:chgData name="David Schlund | EWI" userId="00272c2a-d16f-4eb8-86ba-c28bcace438c" providerId="ADAL" clId="{46E1544F-72D8-4254-8935-79928106F321}" dt="2021-04-26T14:28:44.585" v="15027" actId="478"/>
          <ac:cxnSpMkLst>
            <pc:docMk/>
            <pc:sldMk cId="1129182750" sldId="279"/>
            <ac:cxnSpMk id="84" creationId="{1D957615-CE5A-4DE1-BF80-8695758038DB}"/>
          </ac:cxnSpMkLst>
        </pc:cxnChg>
        <pc:cxnChg chg="add mod ord">
          <ac:chgData name="David Schlund | EWI" userId="00272c2a-d16f-4eb8-86ba-c28bcace438c" providerId="ADAL" clId="{46E1544F-72D8-4254-8935-79928106F321}" dt="2021-04-27T15:23:14.097" v="24272"/>
          <ac:cxnSpMkLst>
            <pc:docMk/>
            <pc:sldMk cId="1129182750" sldId="279"/>
            <ac:cxnSpMk id="87" creationId="{BC3020E5-98E3-4B03-B8FD-FB145B40DF05}"/>
          </ac:cxnSpMkLst>
        </pc:cxnChg>
        <pc:cxnChg chg="add del mod">
          <ac:chgData name="David Schlund | EWI" userId="00272c2a-d16f-4eb8-86ba-c28bcace438c" providerId="ADAL" clId="{46E1544F-72D8-4254-8935-79928106F321}" dt="2021-04-27T15:20:08.401" v="24225" actId="478"/>
          <ac:cxnSpMkLst>
            <pc:docMk/>
            <pc:sldMk cId="1129182750" sldId="279"/>
            <ac:cxnSpMk id="91" creationId="{E232904F-0E9F-4C15-B6A2-EA289A61E63A}"/>
          </ac:cxnSpMkLst>
        </pc:cxnChg>
        <pc:cxnChg chg="mod">
          <ac:chgData name="David Schlund | EWI" userId="00272c2a-d16f-4eb8-86ba-c28bcace438c" providerId="ADAL" clId="{46E1544F-72D8-4254-8935-79928106F321}" dt="2021-04-26T14:29:19.727" v="15037" actId="478"/>
          <ac:cxnSpMkLst>
            <pc:docMk/>
            <pc:sldMk cId="1129182750" sldId="279"/>
            <ac:cxnSpMk id="93" creationId="{4CE3E242-4FA8-4B83-9F4E-4CEA0778CDF7}"/>
          </ac:cxnSpMkLst>
        </pc:cxnChg>
        <pc:cxnChg chg="mod">
          <ac:chgData name="David Schlund | EWI" userId="00272c2a-d16f-4eb8-86ba-c28bcace438c" providerId="ADAL" clId="{46E1544F-72D8-4254-8935-79928106F321}" dt="2021-04-27T15:22:25.857" v="24245"/>
          <ac:cxnSpMkLst>
            <pc:docMk/>
            <pc:sldMk cId="1129182750" sldId="279"/>
            <ac:cxnSpMk id="96" creationId="{0F768C6D-09A0-4A0A-AA93-6A64C072CC0E}"/>
          </ac:cxnSpMkLst>
        </pc:cxnChg>
        <pc:cxnChg chg="mod">
          <ac:chgData name="David Schlund | EWI" userId="00272c2a-d16f-4eb8-86ba-c28bcace438c" providerId="ADAL" clId="{46E1544F-72D8-4254-8935-79928106F321}" dt="2021-04-26T14:30:29.279" v="15092"/>
          <ac:cxnSpMkLst>
            <pc:docMk/>
            <pc:sldMk cId="1129182750" sldId="279"/>
            <ac:cxnSpMk id="104" creationId="{53453E32-59C8-4B2E-AC66-FD099B076401}"/>
          </ac:cxnSpMkLst>
        </pc:cxnChg>
        <pc:cxnChg chg="add mod ord">
          <ac:chgData name="David Schlund | EWI" userId="00272c2a-d16f-4eb8-86ba-c28bcace438c" providerId="ADAL" clId="{46E1544F-72D8-4254-8935-79928106F321}" dt="2021-04-27T15:23:14.098" v="24276"/>
          <ac:cxnSpMkLst>
            <pc:docMk/>
            <pc:sldMk cId="1129182750" sldId="279"/>
            <ac:cxnSpMk id="107" creationId="{1B5A0239-4366-4055-BBD7-2AE181CC64E8}"/>
          </ac:cxnSpMkLst>
        </pc:cxnChg>
        <pc:cxnChg chg="mod">
          <ac:chgData name="David Schlund | EWI" userId="00272c2a-d16f-4eb8-86ba-c28bcace438c" providerId="ADAL" clId="{46E1544F-72D8-4254-8935-79928106F321}" dt="2021-04-26T14:30:41.144" v="15095"/>
          <ac:cxnSpMkLst>
            <pc:docMk/>
            <pc:sldMk cId="1129182750" sldId="279"/>
            <ac:cxnSpMk id="114" creationId="{97A46782-513F-40EC-B706-AD35BB94D9EF}"/>
          </ac:cxnSpMkLst>
        </pc:cxnChg>
        <pc:cxnChg chg="add mod ord">
          <ac:chgData name="David Schlund | EWI" userId="00272c2a-d16f-4eb8-86ba-c28bcace438c" providerId="ADAL" clId="{46E1544F-72D8-4254-8935-79928106F321}" dt="2021-04-27T15:23:14.099" v="24280"/>
          <ac:cxnSpMkLst>
            <pc:docMk/>
            <pc:sldMk cId="1129182750" sldId="279"/>
            <ac:cxnSpMk id="117" creationId="{49057F48-6E60-4CAC-9CF4-8632AB694606}"/>
          </ac:cxnSpMkLst>
        </pc:cxnChg>
        <pc:cxnChg chg="mod">
          <ac:chgData name="David Schlund | EWI" userId="00272c2a-d16f-4eb8-86ba-c28bcace438c" providerId="ADAL" clId="{46E1544F-72D8-4254-8935-79928106F321}" dt="2021-04-27T15:22:25.857" v="24245"/>
          <ac:cxnSpMkLst>
            <pc:docMk/>
            <pc:sldMk cId="1129182750" sldId="279"/>
            <ac:cxnSpMk id="119" creationId="{DC37526B-74E5-4F21-9199-641CD8E678B3}"/>
          </ac:cxnSpMkLst>
        </pc:cxnChg>
        <pc:cxnChg chg="mod">
          <ac:chgData name="David Schlund | EWI" userId="00272c2a-d16f-4eb8-86ba-c28bcace438c" providerId="ADAL" clId="{46E1544F-72D8-4254-8935-79928106F321}" dt="2021-04-27T15:22:25.857" v="24245"/>
          <ac:cxnSpMkLst>
            <pc:docMk/>
            <pc:sldMk cId="1129182750" sldId="279"/>
            <ac:cxnSpMk id="121" creationId="{7AD2CC92-5634-4118-8046-E982B600CBCB}"/>
          </ac:cxnSpMkLst>
        </pc:cxnChg>
        <pc:cxnChg chg="mod">
          <ac:chgData name="David Schlund | EWI" userId="00272c2a-d16f-4eb8-86ba-c28bcace438c" providerId="ADAL" clId="{46E1544F-72D8-4254-8935-79928106F321}" dt="2021-04-26T14:34:11.212" v="15198" actId="478"/>
          <ac:cxnSpMkLst>
            <pc:docMk/>
            <pc:sldMk cId="1129182750" sldId="279"/>
            <ac:cxnSpMk id="124" creationId="{9412D3DB-7154-4440-AC5C-8CF0D9EB77A5}"/>
          </ac:cxnSpMkLst>
        </pc:cxnChg>
        <pc:cxnChg chg="mod">
          <ac:chgData name="David Schlund | EWI" userId="00272c2a-d16f-4eb8-86ba-c28bcace438c" providerId="ADAL" clId="{46E1544F-72D8-4254-8935-79928106F321}" dt="2021-04-27T15:23:10.465" v="24249"/>
          <ac:cxnSpMkLst>
            <pc:docMk/>
            <pc:sldMk cId="1129182750" sldId="279"/>
            <ac:cxnSpMk id="127" creationId="{F31FD8FE-4ED5-487B-8BD8-77D2863A7FE6}"/>
          </ac:cxnSpMkLst>
        </pc:cxnChg>
        <pc:cxnChg chg="mod">
          <ac:chgData name="David Schlund | EWI" userId="00272c2a-d16f-4eb8-86ba-c28bcace438c" providerId="ADAL" clId="{46E1544F-72D8-4254-8935-79928106F321}" dt="2021-04-27T15:23:10.465" v="24249"/>
          <ac:cxnSpMkLst>
            <pc:docMk/>
            <pc:sldMk cId="1129182750" sldId="279"/>
            <ac:cxnSpMk id="129" creationId="{CE196852-5C06-4AE3-9F11-74F8BB05B8B6}"/>
          </ac:cxnSpMkLst>
        </pc:cxnChg>
        <pc:cxnChg chg="mod">
          <ac:chgData name="David Schlund | EWI" userId="00272c2a-d16f-4eb8-86ba-c28bcace438c" providerId="ADAL" clId="{46E1544F-72D8-4254-8935-79928106F321}" dt="2021-04-27T15:23:10.465" v="24249"/>
          <ac:cxnSpMkLst>
            <pc:docMk/>
            <pc:sldMk cId="1129182750" sldId="279"/>
            <ac:cxnSpMk id="133" creationId="{9C059FED-79E5-4CA8-9E38-388F16501A14}"/>
          </ac:cxnSpMkLst>
        </pc:cxnChg>
        <pc:cxnChg chg="add del">
          <ac:chgData name="David Schlund | EWI" userId="00272c2a-d16f-4eb8-86ba-c28bcace438c" providerId="ADAL" clId="{46E1544F-72D8-4254-8935-79928106F321}" dt="2021-04-26T14:34:02.868" v="15197" actId="478"/>
          <ac:cxnSpMkLst>
            <pc:docMk/>
            <pc:sldMk cId="1129182750" sldId="279"/>
            <ac:cxnSpMk id="137" creationId="{D6CFBFA2-F85D-4453-B662-CB662318CC5B}"/>
          </ac:cxnSpMkLst>
        </pc:cxnChg>
        <pc:cxnChg chg="mod">
          <ac:chgData name="David Schlund | EWI" userId="00272c2a-d16f-4eb8-86ba-c28bcace438c" providerId="ADAL" clId="{46E1544F-72D8-4254-8935-79928106F321}" dt="2021-04-26T14:34:13.270" v="15199"/>
          <ac:cxnSpMkLst>
            <pc:docMk/>
            <pc:sldMk cId="1129182750" sldId="279"/>
            <ac:cxnSpMk id="146" creationId="{5EEA699D-E5A8-487E-98FE-D9A816216E91}"/>
          </ac:cxnSpMkLst>
        </pc:cxnChg>
        <pc:cxnChg chg="add mod">
          <ac:chgData name="David Schlund | EWI" userId="00272c2a-d16f-4eb8-86ba-c28bcace438c" providerId="ADAL" clId="{46E1544F-72D8-4254-8935-79928106F321}" dt="2021-04-26T14:40:57.656" v="15672" actId="571"/>
          <ac:cxnSpMkLst>
            <pc:docMk/>
            <pc:sldMk cId="1129182750" sldId="279"/>
            <ac:cxnSpMk id="154" creationId="{E3058EF4-A756-42F4-91DF-2AF9C10FAFDF}"/>
          </ac:cxnSpMkLst>
        </pc:cxnChg>
        <pc:cxnChg chg="add mod">
          <ac:chgData name="David Schlund | EWI" userId="00272c2a-d16f-4eb8-86ba-c28bcace438c" providerId="ADAL" clId="{46E1544F-72D8-4254-8935-79928106F321}" dt="2021-04-26T14:40:57.656" v="15672" actId="571"/>
          <ac:cxnSpMkLst>
            <pc:docMk/>
            <pc:sldMk cId="1129182750" sldId="279"/>
            <ac:cxnSpMk id="155" creationId="{EEDCF91B-85D6-47C2-A3EF-6C7C3F5302AE}"/>
          </ac:cxnSpMkLst>
        </pc:cxnChg>
        <pc:cxnChg chg="mod">
          <ac:chgData name="David Schlund | EWI" userId="00272c2a-d16f-4eb8-86ba-c28bcace438c" providerId="ADAL" clId="{46E1544F-72D8-4254-8935-79928106F321}" dt="2021-04-26T14:40:57.656" v="15672" actId="571"/>
          <ac:cxnSpMkLst>
            <pc:docMk/>
            <pc:sldMk cId="1129182750" sldId="279"/>
            <ac:cxnSpMk id="163" creationId="{4E553166-CE72-46D1-A837-F3180695F854}"/>
          </ac:cxnSpMkLst>
        </pc:cxnChg>
        <pc:cxnChg chg="mod">
          <ac:chgData name="David Schlund | EWI" userId="00272c2a-d16f-4eb8-86ba-c28bcace438c" providerId="ADAL" clId="{46E1544F-72D8-4254-8935-79928106F321}" dt="2021-04-26T14:50:21.278" v="16345"/>
          <ac:cxnSpMkLst>
            <pc:docMk/>
            <pc:sldMk cId="1129182750" sldId="279"/>
            <ac:cxnSpMk id="170" creationId="{8AD11609-0499-4115-BD52-ED06667AFF08}"/>
          </ac:cxnSpMkLst>
        </pc:cxnChg>
        <pc:cxnChg chg="mod">
          <ac:chgData name="David Schlund | EWI" userId="00272c2a-d16f-4eb8-86ba-c28bcace438c" providerId="ADAL" clId="{46E1544F-72D8-4254-8935-79928106F321}" dt="2021-04-26T14:50:21.278" v="16345"/>
          <ac:cxnSpMkLst>
            <pc:docMk/>
            <pc:sldMk cId="1129182750" sldId="279"/>
            <ac:cxnSpMk id="172" creationId="{F2DCDE70-C593-46AE-AB61-2600F59D1026}"/>
          </ac:cxnSpMkLst>
        </pc:cxnChg>
        <pc:cxnChg chg="mod">
          <ac:chgData name="David Schlund | EWI" userId="00272c2a-d16f-4eb8-86ba-c28bcace438c" providerId="ADAL" clId="{46E1544F-72D8-4254-8935-79928106F321}" dt="2021-04-26T14:50:21.278" v="16345"/>
          <ac:cxnSpMkLst>
            <pc:docMk/>
            <pc:sldMk cId="1129182750" sldId="279"/>
            <ac:cxnSpMk id="174" creationId="{2DE45557-B290-4829-AA18-9B40E173D428}"/>
          </ac:cxnSpMkLst>
        </pc:cxnChg>
      </pc:sldChg>
      <pc:sldChg chg="del">
        <pc:chgData name="David Schlund | EWI" userId="00272c2a-d16f-4eb8-86ba-c28bcace438c" providerId="ADAL" clId="{46E1544F-72D8-4254-8935-79928106F321}" dt="2021-04-28T13:59:05.509" v="32040" actId="47"/>
        <pc:sldMkLst>
          <pc:docMk/>
          <pc:sldMk cId="2504274955" sldId="280"/>
        </pc:sldMkLst>
      </pc:sldChg>
      <pc:sldChg chg="addSp delSp modSp mod ord">
        <pc:chgData name="David Schlund | EWI" userId="00272c2a-d16f-4eb8-86ba-c28bcace438c" providerId="ADAL" clId="{46E1544F-72D8-4254-8935-79928106F321}" dt="2021-04-28T13:58:50.021" v="32037" actId="478"/>
        <pc:sldMkLst>
          <pc:docMk/>
          <pc:sldMk cId="1675221896" sldId="281"/>
        </pc:sldMkLst>
        <pc:spChg chg="del">
          <ac:chgData name="David Schlund | EWI" userId="00272c2a-d16f-4eb8-86ba-c28bcace438c" providerId="ADAL" clId="{46E1544F-72D8-4254-8935-79928106F321}" dt="2021-04-28T13:58:50.021" v="32037" actId="478"/>
          <ac:spMkLst>
            <pc:docMk/>
            <pc:sldMk cId="1675221896" sldId="281"/>
            <ac:spMk id="5" creationId="{BBB5502C-C746-423B-8561-C6CFF488E82B}"/>
          </ac:spMkLst>
        </pc:spChg>
        <pc:spChg chg="mod">
          <ac:chgData name="David Schlund | EWI" userId="00272c2a-d16f-4eb8-86ba-c28bcace438c" providerId="ADAL" clId="{46E1544F-72D8-4254-8935-79928106F321}" dt="2021-04-24T17:16:30.047" v="11163" actId="1076"/>
          <ac:spMkLst>
            <pc:docMk/>
            <pc:sldMk cId="1675221896" sldId="281"/>
            <ac:spMk id="7" creationId="{5A9626CC-DE28-4680-96A2-4EEEBE921644}"/>
          </ac:spMkLst>
        </pc:spChg>
        <pc:spChg chg="add mod">
          <ac:chgData name="David Schlund | EWI" userId="00272c2a-d16f-4eb8-86ba-c28bcace438c" providerId="ADAL" clId="{46E1544F-72D8-4254-8935-79928106F321}" dt="2021-04-24T17:28:56.350" v="11363" actId="20577"/>
          <ac:spMkLst>
            <pc:docMk/>
            <pc:sldMk cId="1675221896" sldId="281"/>
            <ac:spMk id="8" creationId="{438D27FF-055D-4EE4-8B12-D14E0A1F6E7C}"/>
          </ac:spMkLst>
        </pc:spChg>
        <pc:graphicFrameChg chg="mod modGraphic">
          <ac:chgData name="David Schlund | EWI" userId="00272c2a-d16f-4eb8-86ba-c28bcace438c" providerId="ADAL" clId="{46E1544F-72D8-4254-8935-79928106F321}" dt="2021-04-28T09:25:24.858" v="27329" actId="20577"/>
          <ac:graphicFrameMkLst>
            <pc:docMk/>
            <pc:sldMk cId="1675221896" sldId="281"/>
            <ac:graphicFrameMk id="6" creationId="{B61B61F1-F2EE-4980-9DC3-7059C90299C5}"/>
          </ac:graphicFrameMkLst>
        </pc:graphicFrameChg>
      </pc:sldChg>
      <pc:sldChg chg="addSp delSp modSp mod modAnim modNotesTx">
        <pc:chgData name="David Schlund | EWI" userId="00272c2a-d16f-4eb8-86ba-c28bcace438c" providerId="ADAL" clId="{46E1544F-72D8-4254-8935-79928106F321}" dt="2021-04-29T08:16:02.181" v="35618" actId="20577"/>
        <pc:sldMkLst>
          <pc:docMk/>
          <pc:sldMk cId="860825555" sldId="282"/>
        </pc:sldMkLst>
        <pc:spChg chg="mod ord">
          <ac:chgData name="David Schlund | EWI" userId="00272c2a-d16f-4eb8-86ba-c28bcace438c" providerId="ADAL" clId="{46E1544F-72D8-4254-8935-79928106F321}" dt="2021-04-26T15:11:05.970" v="17485" actId="948"/>
          <ac:spMkLst>
            <pc:docMk/>
            <pc:sldMk cId="860825555" sldId="282"/>
            <ac:spMk id="2" creationId="{00000000-0000-0000-0000-000000000000}"/>
          </ac:spMkLst>
        </pc:spChg>
        <pc:spChg chg="del mod">
          <ac:chgData name="David Schlund | EWI" userId="00272c2a-d16f-4eb8-86ba-c28bcace438c" providerId="ADAL" clId="{46E1544F-72D8-4254-8935-79928106F321}" dt="2021-04-23T14:13:46.308" v="8824" actId="478"/>
          <ac:spMkLst>
            <pc:docMk/>
            <pc:sldMk cId="860825555" sldId="282"/>
            <ac:spMk id="3" creationId="{00000000-0000-0000-0000-000000000000}"/>
          </ac:spMkLst>
        </pc:spChg>
        <pc:spChg chg="add del mod">
          <ac:chgData name="David Schlund | EWI" userId="00272c2a-d16f-4eb8-86ba-c28bcace438c" providerId="ADAL" clId="{46E1544F-72D8-4254-8935-79928106F321}" dt="2021-04-27T15:32:38.223" v="24938" actId="478"/>
          <ac:spMkLst>
            <pc:docMk/>
            <pc:sldMk cId="860825555" sldId="282"/>
            <ac:spMk id="4" creationId="{9534B1C7-A40B-48A9-A054-8C07D1A7C6EF}"/>
          </ac:spMkLst>
        </pc:spChg>
        <pc:spChg chg="add del mod modVis">
          <ac:chgData name="David Schlund | EWI" userId="00272c2a-d16f-4eb8-86ba-c28bcace438c" providerId="ADAL" clId="{46E1544F-72D8-4254-8935-79928106F321}" dt="2021-04-26T08:09:43.331" v="13002"/>
          <ac:spMkLst>
            <pc:docMk/>
            <pc:sldMk cId="860825555" sldId="282"/>
            <ac:spMk id="4" creationId="{9D93AAB0-E5B1-4E26-A631-82056B2BCAA9}"/>
          </ac:spMkLst>
        </pc:spChg>
        <pc:spChg chg="del mod ord">
          <ac:chgData name="David Schlund | EWI" userId="00272c2a-d16f-4eb8-86ba-c28bcace438c" providerId="ADAL" clId="{46E1544F-72D8-4254-8935-79928106F321}" dt="2021-04-23T14:22:48.420" v="9123" actId="21"/>
          <ac:spMkLst>
            <pc:docMk/>
            <pc:sldMk cId="860825555" sldId="282"/>
            <ac:spMk id="4" creationId="{D1F7C7F7-D2EE-4BDF-8D38-3162E4DA3948}"/>
          </ac:spMkLst>
        </pc:spChg>
        <pc:spChg chg="add del mod modVis">
          <ac:chgData name="David Schlund | EWI" userId="00272c2a-d16f-4eb8-86ba-c28bcace438c" providerId="ADAL" clId="{46E1544F-72D8-4254-8935-79928106F321}" dt="2021-04-26T15:04:19.708" v="17114" actId="962"/>
          <ac:spMkLst>
            <pc:docMk/>
            <pc:sldMk cId="860825555" sldId="282"/>
            <ac:spMk id="5" creationId="{861F69CD-82BE-44C9-9F3C-2E757AFA7983}"/>
          </ac:spMkLst>
        </pc:spChg>
        <pc:spChg chg="add del mod modVis">
          <ac:chgData name="David Schlund | EWI" userId="00272c2a-d16f-4eb8-86ba-c28bcace438c" providerId="ADAL" clId="{46E1544F-72D8-4254-8935-79928106F321}" dt="2021-04-26T15:04:23.372" v="17157"/>
          <ac:spMkLst>
            <pc:docMk/>
            <pc:sldMk cId="860825555" sldId="282"/>
            <ac:spMk id="6" creationId="{7EFE4E83-B73F-4E80-A40E-11E374C159BE}"/>
          </ac:spMkLst>
        </pc:spChg>
        <pc:spChg chg="add del">
          <ac:chgData name="David Schlund | EWI" userId="00272c2a-d16f-4eb8-86ba-c28bcace438c" providerId="ADAL" clId="{46E1544F-72D8-4254-8935-79928106F321}" dt="2021-04-23T14:13:59.536" v="8829" actId="21"/>
          <ac:spMkLst>
            <pc:docMk/>
            <pc:sldMk cId="860825555" sldId="282"/>
            <ac:spMk id="6" creationId="{E1BB5B1B-DE79-4523-9078-F8E423A20DD8}"/>
          </ac:spMkLst>
        </pc:spChg>
        <pc:spChg chg="add del mod modVis">
          <ac:chgData name="David Schlund | EWI" userId="00272c2a-d16f-4eb8-86ba-c28bcace438c" providerId="ADAL" clId="{46E1544F-72D8-4254-8935-79928106F321}" dt="2021-04-26T15:11:06.011" v="17522"/>
          <ac:spMkLst>
            <pc:docMk/>
            <pc:sldMk cId="860825555" sldId="282"/>
            <ac:spMk id="7" creationId="{5FBFF41F-2C36-4770-B05D-4898A5B65A9F}"/>
          </ac:spMkLst>
        </pc:spChg>
        <pc:spChg chg="add del mod">
          <ac:chgData name="David Schlund | EWI" userId="00272c2a-d16f-4eb8-86ba-c28bcace438c" providerId="ADAL" clId="{46E1544F-72D8-4254-8935-79928106F321}" dt="2021-04-23T14:14:39.333" v="8930" actId="478"/>
          <ac:spMkLst>
            <pc:docMk/>
            <pc:sldMk cId="860825555" sldId="282"/>
            <ac:spMk id="8" creationId="{0DD1CA23-C036-4B27-B09D-D3738DD999EE}"/>
          </ac:spMkLst>
        </pc:spChg>
        <pc:spChg chg="add del">
          <ac:chgData name="David Schlund | EWI" userId="00272c2a-d16f-4eb8-86ba-c28bcace438c" providerId="ADAL" clId="{46E1544F-72D8-4254-8935-79928106F321}" dt="2021-04-23T14:13:59.536" v="8829" actId="21"/>
          <ac:spMkLst>
            <pc:docMk/>
            <pc:sldMk cId="860825555" sldId="282"/>
            <ac:spMk id="10" creationId="{AA00AD44-1209-4092-8200-533A77CEAE23}"/>
          </ac:spMkLst>
        </pc:spChg>
        <pc:spChg chg="add del">
          <ac:chgData name="David Schlund | EWI" userId="00272c2a-d16f-4eb8-86ba-c28bcace438c" providerId="ADAL" clId="{46E1544F-72D8-4254-8935-79928106F321}" dt="2021-04-23T14:13:59.536" v="8829" actId="21"/>
          <ac:spMkLst>
            <pc:docMk/>
            <pc:sldMk cId="860825555" sldId="282"/>
            <ac:spMk id="11" creationId="{01FAD460-CDD8-4161-A203-3FA31E39124F}"/>
          </ac:spMkLst>
        </pc:spChg>
        <pc:spChg chg="add del">
          <ac:chgData name="David Schlund | EWI" userId="00272c2a-d16f-4eb8-86ba-c28bcace438c" providerId="ADAL" clId="{46E1544F-72D8-4254-8935-79928106F321}" dt="2021-04-23T14:13:59.536" v="8829" actId="21"/>
          <ac:spMkLst>
            <pc:docMk/>
            <pc:sldMk cId="860825555" sldId="282"/>
            <ac:spMk id="12" creationId="{C07F675D-E702-489C-80F9-0E6A501AD79E}"/>
          </ac:spMkLst>
        </pc:spChg>
        <pc:spChg chg="add del mod">
          <ac:chgData name="David Schlund | EWI" userId="00272c2a-d16f-4eb8-86ba-c28bcace438c" providerId="ADAL" clId="{46E1544F-72D8-4254-8935-79928106F321}" dt="2021-04-23T14:13:44.414" v="8823" actId="478"/>
          <ac:spMkLst>
            <pc:docMk/>
            <pc:sldMk cId="860825555" sldId="282"/>
            <ac:spMk id="13" creationId="{D5AAAEE1-2FE5-45B7-B75D-3F851C79A9A0}"/>
          </ac:spMkLst>
        </pc:spChg>
        <pc:spChg chg="add del mod">
          <ac:chgData name="David Schlund | EWI" userId="00272c2a-d16f-4eb8-86ba-c28bcace438c" providerId="ADAL" clId="{46E1544F-72D8-4254-8935-79928106F321}" dt="2021-04-21T11:36:53.884" v="7510"/>
          <ac:spMkLst>
            <pc:docMk/>
            <pc:sldMk cId="860825555" sldId="282"/>
            <ac:spMk id="14" creationId="{45843A5C-5D5E-4772-99C2-615AA04F23BA}"/>
          </ac:spMkLst>
        </pc:spChg>
        <pc:spChg chg="add del mod modVis">
          <ac:chgData name="David Schlund | EWI" userId="00272c2a-d16f-4eb8-86ba-c28bcace438c" providerId="ADAL" clId="{46E1544F-72D8-4254-8935-79928106F321}" dt="2021-04-23T14:14:08.527" v="8870"/>
          <ac:spMkLst>
            <pc:docMk/>
            <pc:sldMk cId="860825555" sldId="282"/>
            <ac:spMk id="14" creationId="{F627ECE6-7C6E-411D-9162-29848511D047}"/>
          </ac:spMkLst>
        </pc:spChg>
        <pc:spChg chg="add del mod ord">
          <ac:chgData name="David Schlund | EWI" userId="00272c2a-d16f-4eb8-86ba-c28bcace438c" providerId="ADAL" clId="{46E1544F-72D8-4254-8935-79928106F321}" dt="2021-04-23T14:22:56.995" v="9126" actId="21"/>
          <ac:spMkLst>
            <pc:docMk/>
            <pc:sldMk cId="860825555" sldId="282"/>
            <ac:spMk id="15" creationId="{D14747AA-A73D-49ED-8EFD-548E0B5E282E}"/>
          </ac:spMkLst>
        </pc:spChg>
        <pc:spChg chg="add del mod modVis">
          <ac:chgData name="David Schlund | EWI" userId="00272c2a-d16f-4eb8-86ba-c28bcace438c" providerId="ADAL" clId="{46E1544F-72D8-4254-8935-79928106F321}" dt="2021-04-23T14:14:10.719" v="8924"/>
          <ac:spMkLst>
            <pc:docMk/>
            <pc:sldMk cId="860825555" sldId="282"/>
            <ac:spMk id="17" creationId="{17B5F853-B181-4CD0-8623-1B992CA723D5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19" creationId="{78728C76-CE4D-424E-A982-F2F144D263C6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20" creationId="{BE8CBB05-11E5-4328-99AC-4E76832D16F4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23" creationId="{87D9201E-B2E5-4364-8422-0BA555C26B93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24" creationId="{F69616AE-F794-466B-8123-2E1B947D63E0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25" creationId="{BD8B6012-4B39-4593-A63B-1E22C5BF4A4E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26" creationId="{F71982CC-1BD1-4D29-8C56-4B761887F1F8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36" creationId="{D6B1E7F2-2646-462B-BD8E-FF711B556C37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41" creationId="{3BF865A9-18FB-4CB7-A75B-166AB66432BB}"/>
          </ac:spMkLst>
        </pc:spChg>
        <pc:spChg chg="mod">
          <ac:chgData name="David Schlund | EWI" userId="00272c2a-d16f-4eb8-86ba-c28bcace438c" providerId="ADAL" clId="{46E1544F-72D8-4254-8935-79928106F321}" dt="2021-04-23T14:14:32.679" v="8927"/>
          <ac:spMkLst>
            <pc:docMk/>
            <pc:sldMk cId="860825555" sldId="282"/>
            <ac:spMk id="42" creationId="{DEF699DD-13B8-4840-A479-18475AA90DB6}"/>
          </ac:spMkLst>
        </pc:spChg>
        <pc:spChg chg="mod">
          <ac:chgData name="David Schlund | EWI" userId="00272c2a-d16f-4eb8-86ba-c28bcace438c" providerId="ADAL" clId="{46E1544F-72D8-4254-8935-79928106F321}" dt="2021-04-26T15:11:05.477" v="17484" actId="790"/>
          <ac:spMkLst>
            <pc:docMk/>
            <pc:sldMk cId="860825555" sldId="282"/>
            <ac:spMk id="50" creationId="{FDF8905D-925B-46D6-AE1F-66FD20FFE3AE}"/>
          </ac:spMkLst>
        </pc:spChg>
        <pc:spChg chg="mod">
          <ac:chgData name="David Schlund | EWI" userId="00272c2a-d16f-4eb8-86ba-c28bcace438c" providerId="ADAL" clId="{46E1544F-72D8-4254-8935-79928106F321}" dt="2021-04-26T15:11:05.477" v="17484" actId="790"/>
          <ac:spMkLst>
            <pc:docMk/>
            <pc:sldMk cId="860825555" sldId="282"/>
            <ac:spMk id="51" creationId="{F32A7A51-565A-4135-9694-613B26EF639D}"/>
          </ac:spMkLst>
        </pc:spChg>
        <pc:spChg chg="mod">
          <ac:chgData name="David Schlund | EWI" userId="00272c2a-d16f-4eb8-86ba-c28bcace438c" providerId="ADAL" clId="{46E1544F-72D8-4254-8935-79928106F321}" dt="2021-04-26T15:11:05.477" v="17484" actId="790"/>
          <ac:spMkLst>
            <pc:docMk/>
            <pc:sldMk cId="860825555" sldId="282"/>
            <ac:spMk id="54" creationId="{DF0CDAA6-96C5-4652-9650-7723A7ED2734}"/>
          </ac:spMkLst>
        </pc:spChg>
        <pc:spChg chg="mod">
          <ac:chgData name="David Schlund | EWI" userId="00272c2a-d16f-4eb8-86ba-c28bcace438c" providerId="ADAL" clId="{46E1544F-72D8-4254-8935-79928106F321}" dt="2021-04-23T14:14:51.716" v="8934"/>
          <ac:spMkLst>
            <pc:docMk/>
            <pc:sldMk cId="860825555" sldId="282"/>
            <ac:spMk id="57" creationId="{EF9C90CA-AC85-40F7-A46E-31F90E2A231A}"/>
          </ac:spMkLst>
        </pc:spChg>
        <pc:spChg chg="mod">
          <ac:chgData name="David Schlund | EWI" userId="00272c2a-d16f-4eb8-86ba-c28bcace438c" providerId="ADAL" clId="{46E1544F-72D8-4254-8935-79928106F321}" dt="2021-04-23T14:14:51.716" v="8934"/>
          <ac:spMkLst>
            <pc:docMk/>
            <pc:sldMk cId="860825555" sldId="282"/>
            <ac:spMk id="60" creationId="{38600A60-B5B8-451C-AE1D-3B1A2F5F16AC}"/>
          </ac:spMkLst>
        </pc:spChg>
        <pc:spChg chg="add del">
          <ac:chgData name="David Schlund | EWI" userId="00272c2a-d16f-4eb8-86ba-c28bcace438c" providerId="ADAL" clId="{46E1544F-72D8-4254-8935-79928106F321}" dt="2021-04-23T14:16:08.100" v="8952" actId="478"/>
          <ac:spMkLst>
            <pc:docMk/>
            <pc:sldMk cId="860825555" sldId="282"/>
            <ac:spMk id="71" creationId="{7AB64AC8-4702-4F5C-B0CA-3CAE2ADB1520}"/>
          </ac:spMkLst>
        </pc:spChg>
        <pc:spChg chg="add mod ord">
          <ac:chgData name="David Schlund | EWI" userId="00272c2a-d16f-4eb8-86ba-c28bcace438c" providerId="ADAL" clId="{46E1544F-72D8-4254-8935-79928106F321}" dt="2021-04-26T15:11:05.477" v="17484" actId="790"/>
          <ac:spMkLst>
            <pc:docMk/>
            <pc:sldMk cId="860825555" sldId="282"/>
            <ac:spMk id="90" creationId="{3B429B1A-65F4-4741-873B-26904D854D28}"/>
          </ac:spMkLst>
        </pc:spChg>
        <pc:spChg chg="add mod ord">
          <ac:chgData name="David Schlund | EWI" userId="00272c2a-d16f-4eb8-86ba-c28bcace438c" providerId="ADAL" clId="{46E1544F-72D8-4254-8935-79928106F321}" dt="2021-04-26T15:11:05.477" v="17484" actId="790"/>
          <ac:spMkLst>
            <pc:docMk/>
            <pc:sldMk cId="860825555" sldId="282"/>
            <ac:spMk id="91" creationId="{E753FF73-9594-4832-9C58-C479F349A0F9}"/>
          </ac:spMkLst>
        </pc:spChg>
        <pc:spChg chg="add mod">
          <ac:chgData name="David Schlund | EWI" userId="00272c2a-d16f-4eb8-86ba-c28bcace438c" providerId="ADAL" clId="{46E1544F-72D8-4254-8935-79928106F321}" dt="2021-04-29T08:16:02.181" v="35618" actId="20577"/>
          <ac:spMkLst>
            <pc:docMk/>
            <pc:sldMk cId="860825555" sldId="282"/>
            <ac:spMk id="101" creationId="{929A39F6-9182-416D-864C-EAE3ED395B5B}"/>
          </ac:spMkLst>
        </pc:spChg>
        <pc:spChg chg="add mod">
          <ac:chgData name="David Schlund | EWI" userId="00272c2a-d16f-4eb8-86ba-c28bcace438c" providerId="ADAL" clId="{46E1544F-72D8-4254-8935-79928106F321}" dt="2021-04-27T15:32:45.771" v="24954" actId="1035"/>
          <ac:spMkLst>
            <pc:docMk/>
            <pc:sldMk cId="860825555" sldId="282"/>
            <ac:spMk id="102" creationId="{D350D715-A7CF-4585-8CB2-606491E8F592}"/>
          </ac:spMkLst>
        </pc:spChg>
        <pc:grpChg chg="add mod">
          <ac:chgData name="David Schlund | EWI" userId="00272c2a-d16f-4eb8-86ba-c28bcace438c" providerId="ADAL" clId="{46E1544F-72D8-4254-8935-79928106F321}" dt="2021-04-25T10:58:20.228" v="12712" actId="1076"/>
          <ac:grpSpMkLst>
            <pc:docMk/>
            <pc:sldMk cId="860825555" sldId="282"/>
            <ac:grpSpMk id="3" creationId="{37F47E9C-5469-4091-8473-4FC1D0D076F0}"/>
          </ac:grpSpMkLst>
        </pc:grpChg>
        <pc:grpChg chg="add del mod">
          <ac:chgData name="David Schlund | EWI" userId="00272c2a-d16f-4eb8-86ba-c28bcace438c" providerId="ADAL" clId="{46E1544F-72D8-4254-8935-79928106F321}" dt="2021-04-23T14:14:35.784" v="8928"/>
          <ac:grpSpMkLst>
            <pc:docMk/>
            <pc:sldMk cId="860825555" sldId="282"/>
            <ac:grpSpMk id="18" creationId="{3F1A091E-81D9-4EDC-821A-A096DD60AA86}"/>
          </ac:grpSpMkLst>
        </pc:grpChg>
        <pc:grpChg chg="add del mod">
          <ac:chgData name="David Schlund | EWI" userId="00272c2a-d16f-4eb8-86ba-c28bcace438c" providerId="ADAL" clId="{46E1544F-72D8-4254-8935-79928106F321}" dt="2021-04-23T14:14:35.784" v="8928"/>
          <ac:grpSpMkLst>
            <pc:docMk/>
            <pc:sldMk cId="860825555" sldId="282"/>
            <ac:grpSpMk id="35" creationId="{1E8B3546-EF2F-4F9D-BF06-D8807D0C9D50}"/>
          </ac:grpSpMkLst>
        </pc:grpChg>
        <pc:grpChg chg="mod">
          <ac:chgData name="David Schlund | EWI" userId="00272c2a-d16f-4eb8-86ba-c28bcace438c" providerId="ADAL" clId="{46E1544F-72D8-4254-8935-79928106F321}" dt="2021-04-23T14:14:32.679" v="8927"/>
          <ac:grpSpMkLst>
            <pc:docMk/>
            <pc:sldMk cId="860825555" sldId="282"/>
            <ac:grpSpMk id="37" creationId="{A2C362A3-7ADA-4207-9E1D-9E70363DF189}"/>
          </ac:grpSpMkLst>
        </pc:grpChg>
        <pc:grpChg chg="add del mod">
          <ac:chgData name="David Schlund | EWI" userId="00272c2a-d16f-4eb8-86ba-c28bcace438c" providerId="ADAL" clId="{46E1544F-72D8-4254-8935-79928106F321}" dt="2021-04-23T14:15:23.470" v="8942" actId="478"/>
          <ac:grpSpMkLst>
            <pc:docMk/>
            <pc:sldMk cId="860825555" sldId="282"/>
            <ac:grpSpMk id="43" creationId="{3211645F-90DE-46E9-9038-5CB9A86043B1}"/>
          </ac:grpSpMkLst>
        </pc:grpChg>
        <pc:grpChg chg="add mod ord">
          <ac:chgData name="David Schlund | EWI" userId="00272c2a-d16f-4eb8-86ba-c28bcace438c" providerId="ADAL" clId="{46E1544F-72D8-4254-8935-79928106F321}" dt="2021-04-25T10:58:17.598" v="12711" actId="164"/>
          <ac:grpSpMkLst>
            <pc:docMk/>
            <pc:sldMk cId="860825555" sldId="282"/>
            <ac:grpSpMk id="46" creationId="{DE4E4A17-FCE2-48C4-A3E4-08CD3D80960F}"/>
          </ac:grpSpMkLst>
        </pc:grpChg>
        <pc:grpChg chg="add mod ord">
          <ac:chgData name="David Schlund | EWI" userId="00272c2a-d16f-4eb8-86ba-c28bcace438c" providerId="ADAL" clId="{46E1544F-72D8-4254-8935-79928106F321}" dt="2021-04-25T10:58:17.598" v="12711" actId="164"/>
          <ac:grpSpMkLst>
            <pc:docMk/>
            <pc:sldMk cId="860825555" sldId="282"/>
            <ac:grpSpMk id="53" creationId="{8ABE782D-BA52-4F11-9E48-DC434D44F288}"/>
          </ac:grpSpMkLst>
        </pc:grpChg>
        <pc:grpChg chg="add del mod">
          <ac:chgData name="David Schlund | EWI" userId="00272c2a-d16f-4eb8-86ba-c28bcace438c" providerId="ADAL" clId="{46E1544F-72D8-4254-8935-79928106F321}" dt="2021-04-23T14:15:04.835" v="8937" actId="478"/>
          <ac:grpSpMkLst>
            <pc:docMk/>
            <pc:sldMk cId="860825555" sldId="282"/>
            <ac:grpSpMk id="56" creationId="{5053736F-E0C2-4118-A881-DDD127535A87}"/>
          </ac:grpSpMkLst>
        </pc:grpChg>
        <pc:grpChg chg="add del mod">
          <ac:chgData name="David Schlund | EWI" userId="00272c2a-d16f-4eb8-86ba-c28bcace438c" providerId="ADAL" clId="{46E1544F-72D8-4254-8935-79928106F321}" dt="2021-04-23T14:15:02.841" v="8936" actId="478"/>
          <ac:grpSpMkLst>
            <pc:docMk/>
            <pc:sldMk cId="860825555" sldId="282"/>
            <ac:grpSpMk id="59" creationId="{89F7A4F5-9CC8-4C5A-8E86-59B935E598A5}"/>
          </ac:grpSpMkLst>
        </pc:grpChg>
        <pc:graphicFrameChg chg="add mod ord modVis">
          <ac:chgData name="David Schlund | EWI" userId="00272c2a-d16f-4eb8-86ba-c28bcace438c" providerId="ADAL" clId="{46E1544F-72D8-4254-8935-79928106F321}" dt="2021-04-26T15:11:06.011" v="17524"/>
          <ac:graphicFrameMkLst>
            <pc:docMk/>
            <pc:sldMk cId="860825555" sldId="282"/>
            <ac:graphicFrameMk id="16" creationId="{58A79E40-CA0B-45C3-8AD7-64219F27B52D}"/>
          </ac:graphicFrameMkLst>
        </pc:graphicFrameChg>
        <pc:graphicFrameChg chg="add del mod">
          <ac:chgData name="David Schlund | EWI" userId="00272c2a-d16f-4eb8-86ba-c28bcace438c" providerId="ADAL" clId="{46E1544F-72D8-4254-8935-79928106F321}" dt="2021-04-23T14:21:01.571" v="9010" actId="478"/>
          <ac:graphicFrameMkLst>
            <pc:docMk/>
            <pc:sldMk cId="860825555" sldId="282"/>
            <ac:graphicFrameMk id="93" creationId="{F11A5F7E-AA43-4374-94EB-5C19B1A56DB3}"/>
          </ac:graphicFrameMkLst>
        </pc:graphicFrameChg>
        <pc:picChg chg="del mod ord">
          <ac:chgData name="David Schlund | EWI" userId="00272c2a-d16f-4eb8-86ba-c28bcace438c" providerId="ADAL" clId="{46E1544F-72D8-4254-8935-79928106F321}" dt="2021-04-23T14:22:56.995" v="9126" actId="21"/>
          <ac:picMkLst>
            <pc:docMk/>
            <pc:sldMk cId="860825555" sldId="282"/>
            <ac:picMk id="7" creationId="{7BCB6112-89B2-4F54-8521-FE9F78F3A7ED}"/>
          </ac:picMkLst>
        </pc:picChg>
        <pc:picChg chg="del mod ord">
          <ac:chgData name="David Schlund | EWI" userId="00272c2a-d16f-4eb8-86ba-c28bcace438c" providerId="ADAL" clId="{46E1544F-72D8-4254-8935-79928106F321}" dt="2021-04-23T14:22:56.995" v="9126" actId="21"/>
          <ac:picMkLst>
            <pc:docMk/>
            <pc:sldMk cId="860825555" sldId="282"/>
            <ac:picMk id="9" creationId="{0E0A3FD3-2F47-4F78-B2E2-EAE0B7F3BA00}"/>
          </ac:picMkLst>
        </pc:picChg>
        <pc:picChg chg="add del mod">
          <ac:chgData name="David Schlund | EWI" userId="00272c2a-d16f-4eb8-86ba-c28bcace438c" providerId="ADAL" clId="{46E1544F-72D8-4254-8935-79928106F321}" dt="2021-04-23T14:14:35.784" v="8928"/>
          <ac:picMkLst>
            <pc:docMk/>
            <pc:sldMk cId="860825555" sldId="282"/>
            <ac:picMk id="29" creationId="{653D5DE5-D543-40CD-AC26-2598E2CC23C9}"/>
          </ac:picMkLst>
        </pc:picChg>
        <pc:picChg chg="add del mod">
          <ac:chgData name="David Schlund | EWI" userId="00272c2a-d16f-4eb8-86ba-c28bcace438c" providerId="ADAL" clId="{46E1544F-72D8-4254-8935-79928106F321}" dt="2021-04-23T14:14:35.784" v="8928"/>
          <ac:picMkLst>
            <pc:docMk/>
            <pc:sldMk cId="860825555" sldId="282"/>
            <ac:picMk id="30" creationId="{B4293F19-F324-4FA1-9A0C-7B8176681E78}"/>
          </ac:picMkLst>
        </pc:picChg>
        <pc:picChg chg="add del mod">
          <ac:chgData name="David Schlund | EWI" userId="00272c2a-d16f-4eb8-86ba-c28bcace438c" providerId="ADAL" clId="{46E1544F-72D8-4254-8935-79928106F321}" dt="2021-04-23T14:14:35.784" v="8928"/>
          <ac:picMkLst>
            <pc:docMk/>
            <pc:sldMk cId="860825555" sldId="282"/>
            <ac:picMk id="31" creationId="{777E5BA3-E82A-4463-AE54-5D6D6DC8545A}"/>
          </ac:picMkLst>
        </pc:picChg>
        <pc:picChg chg="add del mod">
          <ac:chgData name="David Schlund | EWI" userId="00272c2a-d16f-4eb8-86ba-c28bcace438c" providerId="ADAL" clId="{46E1544F-72D8-4254-8935-79928106F321}" dt="2021-04-23T14:14:35.784" v="8928"/>
          <ac:picMkLst>
            <pc:docMk/>
            <pc:sldMk cId="860825555" sldId="282"/>
            <ac:picMk id="32" creationId="{02AA0656-7BBA-4F26-BBF0-B84EF6997E35}"/>
          </ac:picMkLst>
        </pc:picChg>
        <pc:picChg chg="add del mod">
          <ac:chgData name="David Schlund | EWI" userId="00272c2a-d16f-4eb8-86ba-c28bcace438c" providerId="ADAL" clId="{46E1544F-72D8-4254-8935-79928106F321}" dt="2021-04-23T14:14:35.784" v="8928"/>
          <ac:picMkLst>
            <pc:docMk/>
            <pc:sldMk cId="860825555" sldId="282"/>
            <ac:picMk id="33" creationId="{254C9C44-E060-49F1-8D71-E430E6713897}"/>
          </ac:picMkLst>
        </pc:picChg>
        <pc:picChg chg="add del mod">
          <ac:chgData name="David Schlund | EWI" userId="00272c2a-d16f-4eb8-86ba-c28bcace438c" providerId="ADAL" clId="{46E1544F-72D8-4254-8935-79928106F321}" dt="2021-04-23T14:14:35.784" v="8928"/>
          <ac:picMkLst>
            <pc:docMk/>
            <pc:sldMk cId="860825555" sldId="282"/>
            <ac:picMk id="34" creationId="{EDFAEFFE-E86F-4E00-BD6B-2C1DF52CC9F6}"/>
          </ac:picMkLst>
        </pc:picChg>
        <pc:picChg chg="mod">
          <ac:chgData name="David Schlund | EWI" userId="00272c2a-d16f-4eb8-86ba-c28bcace438c" providerId="ADAL" clId="{46E1544F-72D8-4254-8935-79928106F321}" dt="2021-04-23T14:14:32.679" v="8927"/>
          <ac:picMkLst>
            <pc:docMk/>
            <pc:sldMk cId="860825555" sldId="282"/>
            <ac:picMk id="38" creationId="{3DA94580-C794-48F3-A237-F5404BCEA76C}"/>
          </ac:picMkLst>
        </pc:picChg>
        <pc:picChg chg="mod">
          <ac:chgData name="David Schlund | EWI" userId="00272c2a-d16f-4eb8-86ba-c28bcace438c" providerId="ADAL" clId="{46E1544F-72D8-4254-8935-79928106F321}" dt="2021-04-23T14:14:32.679" v="8927"/>
          <ac:picMkLst>
            <pc:docMk/>
            <pc:sldMk cId="860825555" sldId="282"/>
            <ac:picMk id="39" creationId="{25CF1A49-731E-40F5-9498-64C6845B03C1}"/>
          </ac:picMkLst>
        </pc:picChg>
        <pc:picChg chg="mod ord topLvl">
          <ac:chgData name="David Schlund | EWI" userId="00272c2a-d16f-4eb8-86ba-c28bcace438c" providerId="ADAL" clId="{46E1544F-72D8-4254-8935-79928106F321}" dt="2021-04-25T10:58:17.598" v="12711" actId="164"/>
          <ac:picMkLst>
            <pc:docMk/>
            <pc:sldMk cId="860825555" sldId="282"/>
            <ac:picMk id="44" creationId="{D0BCB64E-FA33-44C3-85EF-E966AC0AE57B}"/>
          </ac:picMkLst>
        </pc:picChg>
        <pc:picChg chg="del mod topLvl">
          <ac:chgData name="David Schlund | EWI" userId="00272c2a-d16f-4eb8-86ba-c28bcace438c" providerId="ADAL" clId="{46E1544F-72D8-4254-8935-79928106F321}" dt="2021-04-23T14:15:23.470" v="8942" actId="478"/>
          <ac:picMkLst>
            <pc:docMk/>
            <pc:sldMk cId="860825555" sldId="282"/>
            <ac:picMk id="45" creationId="{3FD4F208-943E-4A14-8B5F-2A20648B3D0A}"/>
          </ac:picMkLst>
        </pc:picChg>
        <pc:picChg chg="mod">
          <ac:chgData name="David Schlund | EWI" userId="00272c2a-d16f-4eb8-86ba-c28bcace438c" providerId="ADAL" clId="{46E1544F-72D8-4254-8935-79928106F321}" dt="2021-04-23T14:14:51.716" v="8934"/>
          <ac:picMkLst>
            <pc:docMk/>
            <pc:sldMk cId="860825555" sldId="282"/>
            <ac:picMk id="47" creationId="{5831C486-E6B8-49C7-AB1A-8B0A851C9A40}"/>
          </ac:picMkLst>
        </pc:picChg>
        <pc:picChg chg="mod">
          <ac:chgData name="David Schlund | EWI" userId="00272c2a-d16f-4eb8-86ba-c28bcace438c" providerId="ADAL" clId="{46E1544F-72D8-4254-8935-79928106F321}" dt="2021-04-23T14:14:51.716" v="8934"/>
          <ac:picMkLst>
            <pc:docMk/>
            <pc:sldMk cId="860825555" sldId="282"/>
            <ac:picMk id="48" creationId="{3A8799DB-5336-4C10-B246-12824662846A}"/>
          </ac:picMkLst>
        </pc:picChg>
        <pc:picChg chg="mod">
          <ac:chgData name="David Schlund | EWI" userId="00272c2a-d16f-4eb8-86ba-c28bcace438c" providerId="ADAL" clId="{46E1544F-72D8-4254-8935-79928106F321}" dt="2021-04-23T14:14:51.716" v="8934"/>
          <ac:picMkLst>
            <pc:docMk/>
            <pc:sldMk cId="860825555" sldId="282"/>
            <ac:picMk id="55" creationId="{639D95B8-07DE-4345-806B-7C0024DAD0E1}"/>
          </ac:picMkLst>
        </pc:picChg>
        <pc:picChg chg="mod">
          <ac:chgData name="David Schlund | EWI" userId="00272c2a-d16f-4eb8-86ba-c28bcace438c" providerId="ADAL" clId="{46E1544F-72D8-4254-8935-79928106F321}" dt="2021-04-23T14:14:51.716" v="8934"/>
          <ac:picMkLst>
            <pc:docMk/>
            <pc:sldMk cId="860825555" sldId="282"/>
            <ac:picMk id="58" creationId="{08A082CD-BDAC-443D-B921-D17A6349E323}"/>
          </ac:picMkLst>
        </pc:picChg>
        <pc:picChg chg="mod">
          <ac:chgData name="David Schlund | EWI" userId="00272c2a-d16f-4eb8-86ba-c28bcace438c" providerId="ADAL" clId="{46E1544F-72D8-4254-8935-79928106F321}" dt="2021-04-23T14:14:51.716" v="8934"/>
          <ac:picMkLst>
            <pc:docMk/>
            <pc:sldMk cId="860825555" sldId="282"/>
            <ac:picMk id="61" creationId="{E2D6A72E-0B6A-4275-8849-6F145D398FA7}"/>
          </ac:picMkLst>
        </pc:picChg>
        <pc:picChg chg="add del mod">
          <ac:chgData name="David Schlund | EWI" userId="00272c2a-d16f-4eb8-86ba-c28bcace438c" providerId="ADAL" clId="{46E1544F-72D8-4254-8935-79928106F321}" dt="2021-04-23T14:15:21.796" v="8941" actId="478"/>
          <ac:picMkLst>
            <pc:docMk/>
            <pc:sldMk cId="860825555" sldId="282"/>
            <ac:picMk id="62" creationId="{324E1B1D-4296-42E3-813D-1A47E45943CF}"/>
          </ac:picMkLst>
        </pc:picChg>
        <pc:picChg chg="add del mod">
          <ac:chgData name="David Schlund | EWI" userId="00272c2a-d16f-4eb8-86ba-c28bcace438c" providerId="ADAL" clId="{46E1544F-72D8-4254-8935-79928106F321}" dt="2021-04-23T14:15:21.401" v="8940" actId="478"/>
          <ac:picMkLst>
            <pc:docMk/>
            <pc:sldMk cId="860825555" sldId="282"/>
            <ac:picMk id="63" creationId="{3841C7F8-33D5-49D5-89C5-BF9EC5F1D41E}"/>
          </ac:picMkLst>
        </pc:picChg>
        <pc:picChg chg="add mod ord">
          <ac:chgData name="David Schlund | EWI" userId="00272c2a-d16f-4eb8-86ba-c28bcace438c" providerId="ADAL" clId="{46E1544F-72D8-4254-8935-79928106F321}" dt="2021-04-25T10:58:17.598" v="12711" actId="164"/>
          <ac:picMkLst>
            <pc:docMk/>
            <pc:sldMk cId="860825555" sldId="282"/>
            <ac:picMk id="64" creationId="{234AC853-94E5-455D-A0CD-D22E49A8783B}"/>
          </ac:picMkLst>
        </pc:picChg>
        <pc:picChg chg="add mod ord">
          <ac:chgData name="David Schlund | EWI" userId="00272c2a-d16f-4eb8-86ba-c28bcace438c" providerId="ADAL" clId="{46E1544F-72D8-4254-8935-79928106F321}" dt="2021-04-25T10:58:17.598" v="12711" actId="164"/>
          <ac:picMkLst>
            <pc:docMk/>
            <pc:sldMk cId="860825555" sldId="282"/>
            <ac:picMk id="65" creationId="{9C32B027-CB1A-4577-91E0-C14096C46D9F}"/>
          </ac:picMkLst>
        </pc:picChg>
        <pc:picChg chg="add del">
          <ac:chgData name="David Schlund | EWI" userId="00272c2a-d16f-4eb8-86ba-c28bcace438c" providerId="ADAL" clId="{46E1544F-72D8-4254-8935-79928106F321}" dt="2021-04-23T14:20:38.425" v="8991"/>
          <ac:picMkLst>
            <pc:docMk/>
            <pc:sldMk cId="860825555" sldId="282"/>
            <ac:picMk id="92" creationId="{BB5FD938-E9E3-407A-98D7-2310E060F8C0}"/>
          </ac:picMkLst>
        </pc:picChg>
        <pc:picChg chg="add mod ord">
          <ac:chgData name="David Schlund | EWI" userId="00272c2a-d16f-4eb8-86ba-c28bcace438c" providerId="ADAL" clId="{46E1544F-72D8-4254-8935-79928106F321}" dt="2021-04-25T10:58:17.598" v="12711" actId="164"/>
          <ac:picMkLst>
            <pc:docMk/>
            <pc:sldMk cId="860825555" sldId="282"/>
            <ac:picMk id="94" creationId="{2181F259-88C1-474C-B778-4442B7B7F862}"/>
          </ac:picMkLst>
        </pc:picChg>
        <pc:cxnChg chg="mod">
          <ac:chgData name="David Schlund | EWI" userId="00272c2a-d16f-4eb8-86ba-c28bcace438c" providerId="ADAL" clId="{46E1544F-72D8-4254-8935-79928106F321}" dt="2021-04-23T14:14:32.679" v="8927"/>
          <ac:cxnSpMkLst>
            <pc:docMk/>
            <pc:sldMk cId="860825555" sldId="282"/>
            <ac:cxnSpMk id="21" creationId="{0AA04D4C-053D-4D08-817E-2ACEA325ADA8}"/>
          </ac:cxnSpMkLst>
        </pc:cxnChg>
        <pc:cxnChg chg="mod">
          <ac:chgData name="David Schlund | EWI" userId="00272c2a-d16f-4eb8-86ba-c28bcace438c" providerId="ADAL" clId="{46E1544F-72D8-4254-8935-79928106F321}" dt="2021-04-23T14:14:32.679" v="8927"/>
          <ac:cxnSpMkLst>
            <pc:docMk/>
            <pc:sldMk cId="860825555" sldId="282"/>
            <ac:cxnSpMk id="22" creationId="{1CA4D2A6-492E-44B0-ADB6-0F5438BCE7FC}"/>
          </ac:cxnSpMkLst>
        </pc:cxnChg>
        <pc:cxnChg chg="mod">
          <ac:chgData name="David Schlund | EWI" userId="00272c2a-d16f-4eb8-86ba-c28bcace438c" providerId="ADAL" clId="{46E1544F-72D8-4254-8935-79928106F321}" dt="2021-04-23T14:14:32.679" v="8927"/>
          <ac:cxnSpMkLst>
            <pc:docMk/>
            <pc:sldMk cId="860825555" sldId="282"/>
            <ac:cxnSpMk id="27" creationId="{A523C49F-8E71-4BF0-B1D7-619C76590397}"/>
          </ac:cxnSpMkLst>
        </pc:cxnChg>
        <pc:cxnChg chg="mod">
          <ac:chgData name="David Schlund | EWI" userId="00272c2a-d16f-4eb8-86ba-c28bcace438c" providerId="ADAL" clId="{46E1544F-72D8-4254-8935-79928106F321}" dt="2021-04-23T14:14:32.679" v="8927"/>
          <ac:cxnSpMkLst>
            <pc:docMk/>
            <pc:sldMk cId="860825555" sldId="282"/>
            <ac:cxnSpMk id="28" creationId="{F0D2CC80-8008-4569-917E-2CE159959DCE}"/>
          </ac:cxnSpMkLst>
        </pc:cxnChg>
        <pc:cxnChg chg="mod">
          <ac:chgData name="David Schlund | EWI" userId="00272c2a-d16f-4eb8-86ba-c28bcace438c" providerId="ADAL" clId="{46E1544F-72D8-4254-8935-79928106F321}" dt="2021-04-23T14:14:32.679" v="8927"/>
          <ac:cxnSpMkLst>
            <pc:docMk/>
            <pc:sldMk cId="860825555" sldId="282"/>
            <ac:cxnSpMk id="40" creationId="{474FE36B-9EE1-4F4F-9264-BEB498878E49}"/>
          </ac:cxnSpMkLst>
        </pc:cxnChg>
        <pc:cxnChg chg="mod">
          <ac:chgData name="David Schlund | EWI" userId="00272c2a-d16f-4eb8-86ba-c28bcace438c" providerId="ADAL" clId="{46E1544F-72D8-4254-8935-79928106F321}" dt="2021-04-23T14:14:51.716" v="8934"/>
          <ac:cxnSpMkLst>
            <pc:docMk/>
            <pc:sldMk cId="860825555" sldId="282"/>
            <ac:cxnSpMk id="49" creationId="{5372F93F-5558-4027-B4ED-42D7CB64B4FD}"/>
          </ac:cxnSpMkLst>
        </pc:cxnChg>
        <pc:cxnChg chg="add del mod">
          <ac:chgData name="David Schlund | EWI" userId="00272c2a-d16f-4eb8-86ba-c28bcace438c" providerId="ADAL" clId="{46E1544F-72D8-4254-8935-79928106F321}" dt="2021-04-23T14:15:30.105" v="8945" actId="478"/>
          <ac:cxnSpMkLst>
            <pc:docMk/>
            <pc:sldMk cId="860825555" sldId="282"/>
            <ac:cxnSpMk id="52" creationId="{E8044A99-CC8A-44BD-A1AA-18EB51C5C67B}"/>
          </ac:cxnSpMkLst>
        </pc:cxnChg>
        <pc:cxnChg chg="add del mod">
          <ac:chgData name="David Schlund | EWI" userId="00272c2a-d16f-4eb8-86ba-c28bcace438c" providerId="ADAL" clId="{46E1544F-72D8-4254-8935-79928106F321}" dt="2021-04-23T14:15:38.553" v="8947" actId="478"/>
          <ac:cxnSpMkLst>
            <pc:docMk/>
            <pc:sldMk cId="860825555" sldId="282"/>
            <ac:cxnSpMk id="67" creationId="{F63C65DA-AE60-4FE4-B554-B265BEC1DD51}"/>
          </ac:cxnSpMkLst>
        </pc:cxnChg>
        <pc:cxnChg chg="add del mod">
          <ac:chgData name="David Schlund | EWI" userId="00272c2a-d16f-4eb8-86ba-c28bcace438c" providerId="ADAL" clId="{46E1544F-72D8-4254-8935-79928106F321}" dt="2021-04-23T14:15:58.009" v="8950" actId="478"/>
          <ac:cxnSpMkLst>
            <pc:docMk/>
            <pc:sldMk cId="860825555" sldId="282"/>
            <ac:cxnSpMk id="69" creationId="{AF002188-762A-402A-9391-6E7ED8DD7915}"/>
          </ac:cxnSpMkLst>
        </pc:cxnChg>
        <pc:cxnChg chg="add del mod">
          <ac:chgData name="David Schlund | EWI" userId="00272c2a-d16f-4eb8-86ba-c28bcace438c" providerId="ADAL" clId="{46E1544F-72D8-4254-8935-79928106F321}" dt="2021-04-23T14:16:19.855" v="8956" actId="478"/>
          <ac:cxnSpMkLst>
            <pc:docMk/>
            <pc:sldMk cId="860825555" sldId="282"/>
            <ac:cxnSpMk id="73" creationId="{9E07CE99-4EE9-4F64-9BF6-6A058B41E51D}"/>
          </ac:cxnSpMkLst>
        </pc:cxnChg>
        <pc:cxnChg chg="add del mod">
          <ac:chgData name="David Schlund | EWI" userId="00272c2a-d16f-4eb8-86ba-c28bcace438c" providerId="ADAL" clId="{46E1544F-72D8-4254-8935-79928106F321}" dt="2021-04-23T14:17:03.364" v="8964" actId="478"/>
          <ac:cxnSpMkLst>
            <pc:docMk/>
            <pc:sldMk cId="860825555" sldId="282"/>
            <ac:cxnSpMk id="77" creationId="{C1BFBD29-3E3B-4F7F-BBBB-6C5378CB1FFD}"/>
          </ac:cxnSpMkLst>
        </pc:cxnChg>
        <pc:cxnChg chg="add mod ord">
          <ac:chgData name="David Schlund | EWI" userId="00272c2a-d16f-4eb8-86ba-c28bcace438c" providerId="ADAL" clId="{46E1544F-72D8-4254-8935-79928106F321}" dt="2021-04-26T15:07:21.753" v="17274"/>
          <ac:cxnSpMkLst>
            <pc:docMk/>
            <pc:sldMk cId="860825555" sldId="282"/>
            <ac:cxnSpMk id="82" creationId="{DBA4284E-E515-4F4E-A00C-1AC024FEF78C}"/>
          </ac:cxnSpMkLst>
        </pc:cxnChg>
        <pc:cxnChg chg="add mod ord">
          <ac:chgData name="David Schlund | EWI" userId="00272c2a-d16f-4eb8-86ba-c28bcace438c" providerId="ADAL" clId="{46E1544F-72D8-4254-8935-79928106F321}" dt="2021-04-26T15:07:21.753" v="17274"/>
          <ac:cxnSpMkLst>
            <pc:docMk/>
            <pc:sldMk cId="860825555" sldId="282"/>
            <ac:cxnSpMk id="84" creationId="{A962E916-BCE7-405F-A50C-EFA5D4878D3E}"/>
          </ac:cxnSpMkLst>
        </pc:cxnChg>
        <pc:cxnChg chg="add mod ord">
          <ac:chgData name="David Schlund | EWI" userId="00272c2a-d16f-4eb8-86ba-c28bcace438c" providerId="ADAL" clId="{46E1544F-72D8-4254-8935-79928106F321}" dt="2021-04-28T11:16:07.569" v="27352"/>
          <ac:cxnSpMkLst>
            <pc:docMk/>
            <pc:sldMk cId="860825555" sldId="282"/>
            <ac:cxnSpMk id="86" creationId="{2042E018-396E-40EA-91C7-8B47E8BCB308}"/>
          </ac:cxnSpMkLst>
        </pc:cxnChg>
        <pc:cxnChg chg="add mod ord">
          <ac:chgData name="David Schlund | EWI" userId="00272c2a-d16f-4eb8-86ba-c28bcace438c" providerId="ADAL" clId="{46E1544F-72D8-4254-8935-79928106F321}" dt="2021-04-28T11:16:07.569" v="27352"/>
          <ac:cxnSpMkLst>
            <pc:docMk/>
            <pc:sldMk cId="860825555" sldId="282"/>
            <ac:cxnSpMk id="89" creationId="{3A77226B-047F-4ED4-85FD-2CFE3D2F9A63}"/>
          </ac:cxnSpMkLst>
        </pc:cxnChg>
        <pc:cxnChg chg="add mod">
          <ac:chgData name="David Schlund | EWI" userId="00272c2a-d16f-4eb8-86ba-c28bcace438c" providerId="ADAL" clId="{46E1544F-72D8-4254-8935-79928106F321}" dt="2021-04-25T10:58:17.598" v="12711" actId="164"/>
          <ac:cxnSpMkLst>
            <pc:docMk/>
            <pc:sldMk cId="860825555" sldId="282"/>
            <ac:cxnSpMk id="96" creationId="{C6A41922-D7A1-43ED-89CE-7C13FBDD6FFE}"/>
          </ac:cxnSpMkLst>
        </pc:cxnChg>
        <pc:cxnChg chg="add del mod">
          <ac:chgData name="David Schlund | EWI" userId="00272c2a-d16f-4eb8-86ba-c28bcace438c" providerId="ADAL" clId="{46E1544F-72D8-4254-8935-79928106F321}" dt="2021-04-23T14:21:45.966" v="9097" actId="478"/>
          <ac:cxnSpMkLst>
            <pc:docMk/>
            <pc:sldMk cId="860825555" sldId="282"/>
            <ac:cxnSpMk id="98" creationId="{A260A5CA-AB93-41D5-B50F-7035A051025B}"/>
          </ac:cxnSpMkLst>
        </pc:cxnChg>
        <pc:cxnChg chg="add mod">
          <ac:chgData name="David Schlund | EWI" userId="00272c2a-d16f-4eb8-86ba-c28bcace438c" providerId="ADAL" clId="{46E1544F-72D8-4254-8935-79928106F321}" dt="2021-04-25T10:58:17.598" v="12711" actId="164"/>
          <ac:cxnSpMkLst>
            <pc:docMk/>
            <pc:sldMk cId="860825555" sldId="282"/>
            <ac:cxnSpMk id="99" creationId="{4BD8C606-102D-4C44-BD7D-9C5F39ACDD5B}"/>
          </ac:cxnSpMkLst>
        </pc:cxnChg>
      </pc:sldChg>
      <pc:sldChg chg="add del">
        <pc:chgData name="David Schlund | EWI" userId="00272c2a-d16f-4eb8-86ba-c28bcace438c" providerId="ADAL" clId="{46E1544F-72D8-4254-8935-79928106F321}" dt="2021-04-23T11:36:21.396" v="8441"/>
        <pc:sldMkLst>
          <pc:docMk/>
          <pc:sldMk cId="2086424499" sldId="283"/>
        </pc:sldMkLst>
      </pc:sldChg>
      <pc:sldChg chg="addSp delSp modSp mod modAnim modNotesTx">
        <pc:chgData name="David Schlund | EWI" userId="00272c2a-d16f-4eb8-86ba-c28bcace438c" providerId="ADAL" clId="{46E1544F-72D8-4254-8935-79928106F321}" dt="2021-04-28T12:29:42.007" v="29039" actId="6549"/>
        <pc:sldMkLst>
          <pc:docMk/>
          <pc:sldMk cId="3914249682" sldId="283"/>
        </pc:sldMkLst>
        <pc:spChg chg="mod">
          <ac:chgData name="David Schlund | EWI" userId="00272c2a-d16f-4eb8-86ba-c28bcace438c" providerId="ADAL" clId="{46E1544F-72D8-4254-8935-79928106F321}" dt="2021-04-28T08:50:19.933" v="26525" actId="948"/>
          <ac:spMkLst>
            <pc:docMk/>
            <pc:sldMk cId="3914249682" sldId="283"/>
            <ac:spMk id="2" creationId="{00000000-0000-0000-0000-000000000000}"/>
          </ac:spMkLst>
        </pc:spChg>
        <pc:spChg chg="add del mod modVis">
          <ac:chgData name="David Schlund | EWI" userId="00272c2a-d16f-4eb8-86ba-c28bcace438c" providerId="ADAL" clId="{46E1544F-72D8-4254-8935-79928106F321}" dt="2021-04-26T15:11:15.792" v="17675"/>
          <ac:spMkLst>
            <pc:docMk/>
            <pc:sldMk cId="3914249682" sldId="283"/>
            <ac:spMk id="7" creationId="{F14F3C80-8368-421E-831A-993E0A4B3697}"/>
          </ac:spMkLst>
        </pc:spChg>
        <pc:spChg chg="add del mod">
          <ac:chgData name="David Schlund | EWI" userId="00272c2a-d16f-4eb8-86ba-c28bcace438c" providerId="ADAL" clId="{46E1544F-72D8-4254-8935-79928106F321}" dt="2021-04-27T15:29:14.751" v="24767" actId="478"/>
          <ac:spMkLst>
            <pc:docMk/>
            <pc:sldMk cId="3914249682" sldId="283"/>
            <ac:spMk id="7" creationId="{F379AD76-868C-4A20-B8C5-8ACF93446710}"/>
          </ac:spMkLst>
        </pc:spChg>
        <pc:spChg chg="mod">
          <ac:chgData name="David Schlund | EWI" userId="00272c2a-d16f-4eb8-86ba-c28bcace438c" providerId="ADAL" clId="{46E1544F-72D8-4254-8935-79928106F321}" dt="2021-04-27T11:10:03.893" v="19436" actId="20577"/>
          <ac:spMkLst>
            <pc:docMk/>
            <pc:sldMk cId="3914249682" sldId="283"/>
            <ac:spMk id="8" creationId="{2D4A4350-37AF-4069-9F4B-88D8AFEFCE79}"/>
          </ac:spMkLst>
        </pc:spChg>
        <pc:spChg chg="mod">
          <ac:chgData name="David Schlund | EWI" userId="00272c2a-d16f-4eb8-86ba-c28bcace438c" providerId="ADAL" clId="{46E1544F-72D8-4254-8935-79928106F321}" dt="2021-04-27T11:10:12.454" v="19442" actId="20577"/>
          <ac:spMkLst>
            <pc:docMk/>
            <pc:sldMk cId="3914249682" sldId="283"/>
            <ac:spMk id="9" creationId="{698D3F08-E543-41B3-A777-1ADE77648689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11" creationId="{769EDDEB-9A52-490C-A7FB-005B6AB4DEF9}"/>
          </ac:spMkLst>
        </pc:spChg>
        <pc:spChg chg="mod">
          <ac:chgData name="David Schlund | EWI" userId="00272c2a-d16f-4eb8-86ba-c28bcace438c" providerId="ADAL" clId="{46E1544F-72D8-4254-8935-79928106F321}" dt="2021-04-27T11:10:08.676" v="19440" actId="20577"/>
          <ac:spMkLst>
            <pc:docMk/>
            <pc:sldMk cId="3914249682" sldId="283"/>
            <ac:spMk id="12" creationId="{F23EE5BE-6654-4DD5-AD3D-C1781E68216C}"/>
          </ac:spMkLst>
        </pc:spChg>
        <pc:spChg chg="add mod">
          <ac:chgData name="David Schlund | EWI" userId="00272c2a-d16f-4eb8-86ba-c28bcace438c" providerId="ADAL" clId="{46E1544F-72D8-4254-8935-79928106F321}" dt="2021-04-27T15:29:56.802" v="24780" actId="1036"/>
          <ac:spMkLst>
            <pc:docMk/>
            <pc:sldMk cId="3914249682" sldId="283"/>
            <ac:spMk id="13" creationId="{3FBB7E1A-5718-4E37-8C5D-FBF06AE7AD47}"/>
          </ac:spMkLst>
        </pc:spChg>
        <pc:spChg chg="mod">
          <ac:chgData name="David Schlund | EWI" userId="00272c2a-d16f-4eb8-86ba-c28bcace438c" providerId="ADAL" clId="{46E1544F-72D8-4254-8935-79928106F321}" dt="2021-04-27T07:21:03.666" v="17928" actId="1035"/>
          <ac:spMkLst>
            <pc:docMk/>
            <pc:sldMk cId="3914249682" sldId="283"/>
            <ac:spMk id="27" creationId="{FF8A7D44-4C36-4092-AB45-EE9196CAC84E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44" creationId="{62DA28EB-DEFC-40EC-993A-C5B0AE73F6A0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45" creationId="{A2FDDBA8-D67C-4284-93D1-0B830418BAA2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46" creationId="{931A6F8C-AF67-4397-8664-4DB6027F9B57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47" creationId="{B5DA9602-FD77-47AE-AB88-10D33D831262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49" creationId="{84B83792-A0DF-4EF9-8945-9F2D1E54983A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0" creationId="{4F110591-7117-4EDC-8524-F7816E50E02E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1" creationId="{BA0DA61F-1935-47A4-9944-F1BE2DD4C57E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2" creationId="{8EE1B110-4426-4B17-BB53-3D7C74343AE0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3" creationId="{41730349-FAEE-4170-AA33-105B51D50F60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4" creationId="{6790EE85-9EA0-4D5C-80B0-621CA833153A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5" creationId="{ED594089-B7C3-4000-9FB8-4B41381E8B11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7" creationId="{C274162C-81C4-402D-A649-AF4E8971AA0D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8" creationId="{2752491D-3101-45D8-9312-93556D53DC2A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59" creationId="{BC52DEB4-BAF0-48A5-8009-BDE96FEB60CB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60" creationId="{25EA20B0-B25A-4AE3-9B8F-FD7A5FF4EE7D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61" creationId="{D49CB796-FC64-4444-9C1A-72B2902AC546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62" creationId="{80F01BD2-41C0-4396-9FD2-4DCD9A0B02B0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63" creationId="{C457BDF1-7246-44FA-B0FA-BD37F000C692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64" creationId="{18223212-2953-4A2D-9DA7-5A8C98421AAE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65" creationId="{7A40C07F-392A-495C-A97C-E9A3F9B15A6C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66" creationId="{F8B6BF12-6FE5-400B-96B0-B872429C8D55}"/>
          </ac:spMkLst>
        </pc:spChg>
        <pc:spChg chg="add del mod">
          <ac:chgData name="David Schlund | EWI" userId="00272c2a-d16f-4eb8-86ba-c28bcace438c" providerId="ADAL" clId="{46E1544F-72D8-4254-8935-79928106F321}" dt="2021-04-27T07:19:35.742" v="17902" actId="478"/>
          <ac:spMkLst>
            <pc:docMk/>
            <pc:sldMk cId="3914249682" sldId="283"/>
            <ac:spMk id="70" creationId="{3704F1F9-EDC3-4B82-A3E0-E8F84835954D}"/>
          </ac:spMkLst>
        </pc:spChg>
        <pc:spChg chg="add mod">
          <ac:chgData name="David Schlund | EWI" userId="00272c2a-d16f-4eb8-86ba-c28bcace438c" providerId="ADAL" clId="{46E1544F-72D8-4254-8935-79928106F321}" dt="2021-04-27T11:23:31.433" v="20191" actId="404"/>
          <ac:spMkLst>
            <pc:docMk/>
            <pc:sldMk cId="3914249682" sldId="283"/>
            <ac:spMk id="70" creationId="{82AB33D9-59F3-4AB5-8ED1-0FC0027D2498}"/>
          </ac:spMkLst>
        </pc:spChg>
        <pc:spChg chg="add mod">
          <ac:chgData name="David Schlund | EWI" userId="00272c2a-d16f-4eb8-86ba-c28bcace438c" providerId="ADAL" clId="{46E1544F-72D8-4254-8935-79928106F321}" dt="2021-04-27T07:21:09.228" v="17929"/>
          <ac:spMkLst>
            <pc:docMk/>
            <pc:sldMk cId="3914249682" sldId="283"/>
            <ac:spMk id="72" creationId="{2F82C6B2-2961-4279-8938-58C127213C8C}"/>
          </ac:spMkLst>
        </pc:spChg>
        <pc:spChg chg="add del mod">
          <ac:chgData name="David Schlund | EWI" userId="00272c2a-d16f-4eb8-86ba-c28bcace438c" providerId="ADAL" clId="{46E1544F-72D8-4254-8935-79928106F321}" dt="2021-04-27T07:19:35.742" v="17902" actId="478"/>
          <ac:spMkLst>
            <pc:docMk/>
            <pc:sldMk cId="3914249682" sldId="283"/>
            <ac:spMk id="72" creationId="{66A2BB36-F5E2-424F-AF6C-9C83D10CACB2}"/>
          </ac:spMkLst>
        </pc:spChg>
        <pc:spChg chg="mod">
          <ac:chgData name="David Schlund | EWI" userId="00272c2a-d16f-4eb8-86ba-c28bcace438c" providerId="ADAL" clId="{46E1544F-72D8-4254-8935-79928106F321}" dt="2021-04-27T07:21:03.666" v="17928" actId="1035"/>
          <ac:spMkLst>
            <pc:docMk/>
            <pc:sldMk cId="3914249682" sldId="283"/>
            <ac:spMk id="74" creationId="{39E4BE94-AA65-4542-B418-0EA1CFBF4072}"/>
          </ac:spMkLst>
        </pc:spChg>
        <pc:spChg chg="mod">
          <ac:chgData name="David Schlund | EWI" userId="00272c2a-d16f-4eb8-86ba-c28bcace438c" providerId="ADAL" clId="{46E1544F-72D8-4254-8935-79928106F321}" dt="2021-04-26T15:11:15.259" v="17637" actId="790"/>
          <ac:spMkLst>
            <pc:docMk/>
            <pc:sldMk cId="3914249682" sldId="283"/>
            <ac:spMk id="93" creationId="{BDAE1C8F-237F-4B59-9A94-0E77BB67E652}"/>
          </ac:spMkLst>
        </pc:spChg>
        <pc:grpChg chg="mod">
          <ac:chgData name="David Schlund | EWI" userId="00272c2a-d16f-4eb8-86ba-c28bcace438c" providerId="ADAL" clId="{46E1544F-72D8-4254-8935-79928106F321}" dt="2021-04-27T07:21:03.666" v="17928" actId="1035"/>
          <ac:grpSpMkLst>
            <pc:docMk/>
            <pc:sldMk cId="3914249682" sldId="283"/>
            <ac:grpSpMk id="15" creationId="{FD13A001-9286-43C8-AA79-B201A97EF95A}"/>
          </ac:grpSpMkLst>
        </pc:grpChg>
        <pc:grpChg chg="mod">
          <ac:chgData name="David Schlund | EWI" userId="00272c2a-d16f-4eb8-86ba-c28bcace438c" providerId="ADAL" clId="{46E1544F-72D8-4254-8935-79928106F321}" dt="2021-04-27T07:21:03.666" v="17928" actId="1035"/>
          <ac:grpSpMkLst>
            <pc:docMk/>
            <pc:sldMk cId="3914249682" sldId="283"/>
            <ac:grpSpMk id="16" creationId="{8BE45FBA-6803-41E0-AC76-A8B7F34B02A3}"/>
          </ac:grpSpMkLst>
        </pc:grpChg>
        <pc:grpChg chg="mod">
          <ac:chgData name="David Schlund | EWI" userId="00272c2a-d16f-4eb8-86ba-c28bcace438c" providerId="ADAL" clId="{46E1544F-72D8-4254-8935-79928106F321}" dt="2021-04-27T07:21:03.666" v="17928" actId="1035"/>
          <ac:grpSpMkLst>
            <pc:docMk/>
            <pc:sldMk cId="3914249682" sldId="283"/>
            <ac:grpSpMk id="19" creationId="{E783B62D-A234-4EC8-BC58-C2DA103BCF0C}"/>
          </ac:grpSpMkLst>
        </pc:grpChg>
        <pc:grpChg chg="mod">
          <ac:chgData name="David Schlund | EWI" userId="00272c2a-d16f-4eb8-86ba-c28bcace438c" providerId="ADAL" clId="{46E1544F-72D8-4254-8935-79928106F321}" dt="2021-04-27T07:21:03.666" v="17928" actId="1035"/>
          <ac:grpSpMkLst>
            <pc:docMk/>
            <pc:sldMk cId="3914249682" sldId="283"/>
            <ac:grpSpMk id="20" creationId="{61A147C0-4308-44D5-B48C-5E57673F773A}"/>
          </ac:grpSpMkLst>
        </pc:grpChg>
        <pc:graphicFrameChg chg="add mod ord modVis">
          <ac:chgData name="David Schlund | EWI" userId="00272c2a-d16f-4eb8-86ba-c28bcace438c" providerId="ADAL" clId="{46E1544F-72D8-4254-8935-79928106F321}" dt="2021-04-28T08:50:19.944" v="26527"/>
          <ac:graphicFrameMkLst>
            <pc:docMk/>
            <pc:sldMk cId="3914249682" sldId="283"/>
            <ac:graphicFrameMk id="10" creationId="{AEF18700-D7A0-403F-9389-32D93E5A9DA1}"/>
          </ac:graphicFrameMkLst>
        </pc:graphicFrameChg>
      </pc:sldChg>
      <pc:sldChg chg="addSp delSp modSp add mod modAnim modNotesTx">
        <pc:chgData name="David Schlund | EWI" userId="00272c2a-d16f-4eb8-86ba-c28bcace438c" providerId="ADAL" clId="{46E1544F-72D8-4254-8935-79928106F321}" dt="2021-04-29T07:28:44.454" v="34634"/>
        <pc:sldMkLst>
          <pc:docMk/>
          <pc:sldMk cId="794490125" sldId="284"/>
        </pc:sldMkLst>
        <pc:spChg chg="mod">
          <ac:chgData name="David Schlund | EWI" userId="00272c2a-d16f-4eb8-86ba-c28bcace438c" providerId="ADAL" clId="{46E1544F-72D8-4254-8935-79928106F321}" dt="2021-04-26T15:10:57.659" v="17426" actId="948"/>
          <ac:spMkLst>
            <pc:docMk/>
            <pc:sldMk cId="794490125" sldId="284"/>
            <ac:spMk id="2" creationId="{00000000-0000-0000-0000-000000000000}"/>
          </ac:spMkLst>
        </pc:spChg>
        <pc:spChg chg="mod">
          <ac:chgData name="David Schlund | EWI" userId="00272c2a-d16f-4eb8-86ba-c28bcace438c" providerId="ADAL" clId="{46E1544F-72D8-4254-8935-79928106F321}" dt="2021-04-27T07:23:56.258" v="18092" actId="113"/>
          <ac:spMkLst>
            <pc:docMk/>
            <pc:sldMk cId="794490125" sldId="284"/>
            <ac:spMk id="3" creationId="{00000000-0000-0000-0000-000000000000}"/>
          </ac:spMkLst>
        </pc:spChg>
        <pc:spChg chg="del mod">
          <ac:chgData name="David Schlund | EWI" userId="00272c2a-d16f-4eb8-86ba-c28bcace438c" providerId="ADAL" clId="{46E1544F-72D8-4254-8935-79928106F321}" dt="2021-04-28T08:21:48.148" v="25181" actId="478"/>
          <ac:spMkLst>
            <pc:docMk/>
            <pc:sldMk cId="794490125" sldId="284"/>
            <ac:spMk id="4" creationId="{8E65BF59-17AB-451B-9E4D-36BB427ED3E7}"/>
          </ac:spMkLst>
        </pc:spChg>
        <pc:spChg chg="del">
          <ac:chgData name="David Schlund | EWI" userId="00272c2a-d16f-4eb8-86ba-c28bcace438c" providerId="ADAL" clId="{46E1544F-72D8-4254-8935-79928106F321}" dt="2021-04-23T14:13:25.860" v="8810" actId="478"/>
          <ac:spMkLst>
            <pc:docMk/>
            <pc:sldMk cId="794490125" sldId="284"/>
            <ac:spMk id="4" creationId="{D1F7C7F7-D2EE-4BDF-8D38-3162E4DA3948}"/>
          </ac:spMkLst>
        </pc:spChg>
        <pc:spChg chg="add del mod modVis">
          <ac:chgData name="David Schlund | EWI" userId="00272c2a-d16f-4eb8-86ba-c28bcace438c" providerId="ADAL" clId="{46E1544F-72D8-4254-8935-79928106F321}" dt="2021-04-26T15:04:27.617" v="17198"/>
          <ac:spMkLst>
            <pc:docMk/>
            <pc:sldMk cId="794490125" sldId="284"/>
            <ac:spMk id="5" creationId="{482E2144-4297-4D54-A9C1-2497D7DFDD60}"/>
          </ac:spMkLst>
        </pc:spChg>
        <pc:spChg chg="del">
          <ac:chgData name="David Schlund | EWI" userId="00272c2a-d16f-4eb8-86ba-c28bcace438c" providerId="ADAL" clId="{46E1544F-72D8-4254-8935-79928106F321}" dt="2021-04-23T14:13:30.692" v="8815" actId="478"/>
          <ac:spMkLst>
            <pc:docMk/>
            <pc:sldMk cId="794490125" sldId="284"/>
            <ac:spMk id="6" creationId="{E1BB5B1B-DE79-4523-9078-F8E423A20DD8}"/>
          </ac:spMkLst>
        </pc:spChg>
        <pc:spChg chg="add del mod modVis">
          <ac:chgData name="David Schlund | EWI" userId="00272c2a-d16f-4eb8-86ba-c28bcace438c" providerId="ADAL" clId="{46E1544F-72D8-4254-8935-79928106F321}" dt="2021-04-26T15:10:57.702" v="17463"/>
          <ac:spMkLst>
            <pc:docMk/>
            <pc:sldMk cId="794490125" sldId="284"/>
            <ac:spMk id="8" creationId="{65AF6F25-F528-4056-B71F-D2CE400DDBFB}"/>
          </ac:spMkLst>
        </pc:spChg>
        <pc:spChg chg="add del mod">
          <ac:chgData name="David Schlund | EWI" userId="00272c2a-d16f-4eb8-86ba-c28bcace438c" providerId="ADAL" clId="{46E1544F-72D8-4254-8935-79928106F321}" dt="2021-04-27T15:39:03.819" v="24994" actId="478"/>
          <ac:spMkLst>
            <pc:docMk/>
            <pc:sldMk cId="794490125" sldId="284"/>
            <ac:spMk id="10" creationId="{319F0A7D-3498-43CC-A0A2-214E48794739}"/>
          </ac:spMkLst>
        </pc:spChg>
        <pc:spChg chg="del mod">
          <ac:chgData name="David Schlund | EWI" userId="00272c2a-d16f-4eb8-86ba-c28bcace438c" providerId="ADAL" clId="{46E1544F-72D8-4254-8935-79928106F321}" dt="2021-04-23T14:13:29.156" v="8813" actId="478"/>
          <ac:spMkLst>
            <pc:docMk/>
            <pc:sldMk cId="794490125" sldId="284"/>
            <ac:spMk id="10" creationId="{AA00AD44-1209-4092-8200-533A77CEAE23}"/>
          </ac:spMkLst>
        </pc:spChg>
        <pc:spChg chg="del">
          <ac:chgData name="David Schlund | EWI" userId="00272c2a-d16f-4eb8-86ba-c28bcace438c" providerId="ADAL" clId="{46E1544F-72D8-4254-8935-79928106F321}" dt="2021-04-23T14:13:29.764" v="8814" actId="478"/>
          <ac:spMkLst>
            <pc:docMk/>
            <pc:sldMk cId="794490125" sldId="284"/>
            <ac:spMk id="11" creationId="{01FAD460-CDD8-4161-A203-3FA31E39124F}"/>
          </ac:spMkLst>
        </pc:spChg>
        <pc:spChg chg="del mod">
          <ac:chgData name="David Schlund | EWI" userId="00272c2a-d16f-4eb8-86ba-c28bcace438c" providerId="ADAL" clId="{46E1544F-72D8-4254-8935-79928106F321}" dt="2021-04-28T08:21:46.005" v="25180" actId="478"/>
          <ac:spMkLst>
            <pc:docMk/>
            <pc:sldMk cId="794490125" sldId="284"/>
            <ac:spMk id="12" creationId="{6DC1A127-BC91-4404-99B9-5599AF1DAB69}"/>
          </ac:spMkLst>
        </pc:spChg>
        <pc:spChg chg="del">
          <ac:chgData name="David Schlund | EWI" userId="00272c2a-d16f-4eb8-86ba-c28bcace438c" providerId="ADAL" clId="{46E1544F-72D8-4254-8935-79928106F321}" dt="2021-04-23T14:13:27.524" v="8811" actId="478"/>
          <ac:spMkLst>
            <pc:docMk/>
            <pc:sldMk cId="794490125" sldId="284"/>
            <ac:spMk id="12" creationId="{C07F675D-E702-489C-80F9-0E6A501AD79E}"/>
          </ac:spMkLst>
        </pc:spChg>
        <pc:spChg chg="mod">
          <ac:chgData name="David Schlund | EWI" userId="00272c2a-d16f-4eb8-86ba-c28bcace438c" providerId="ADAL" clId="{46E1544F-72D8-4254-8935-79928106F321}" dt="2021-04-28T11:41:44.182" v="27437" actId="6549"/>
          <ac:spMkLst>
            <pc:docMk/>
            <pc:sldMk cId="794490125" sldId="284"/>
            <ac:spMk id="13" creationId="{D5AAAEE1-2FE5-45B7-B75D-3F851C79A9A0}"/>
          </ac:spMkLst>
        </pc:spChg>
        <pc:spChg chg="add mod">
          <ac:chgData name="David Schlund | EWI" userId="00272c2a-d16f-4eb8-86ba-c28bcace438c" providerId="ADAL" clId="{46E1544F-72D8-4254-8935-79928106F321}" dt="2021-04-27T11:15:40.431" v="20027" actId="20577"/>
          <ac:spMkLst>
            <pc:docMk/>
            <pc:sldMk cId="794490125" sldId="284"/>
            <ac:spMk id="14" creationId="{8658E6F0-828A-40C9-BE91-8B3C842296CF}"/>
          </ac:spMkLst>
        </pc:spChg>
        <pc:spChg chg="add del mod">
          <ac:chgData name="David Schlund | EWI" userId="00272c2a-d16f-4eb8-86ba-c28bcace438c" providerId="ADAL" clId="{46E1544F-72D8-4254-8935-79928106F321}" dt="2021-04-23T14:31:19.160" v="10391" actId="478"/>
          <ac:spMkLst>
            <pc:docMk/>
            <pc:sldMk cId="794490125" sldId="284"/>
            <ac:spMk id="14" creationId="{B65E3ADB-749D-4496-8F43-CBEFE6BBA228}"/>
          </ac:spMkLst>
        </pc:spChg>
        <pc:spChg chg="add del mod">
          <ac:chgData name="David Schlund | EWI" userId="00272c2a-d16f-4eb8-86ba-c28bcace438c" providerId="ADAL" clId="{46E1544F-72D8-4254-8935-79928106F321}" dt="2021-04-23T14:31:07.533" v="10390" actId="478"/>
          <ac:spMkLst>
            <pc:docMk/>
            <pc:sldMk cId="794490125" sldId="284"/>
            <ac:spMk id="16" creationId="{E61C5469-3277-4618-BBC6-B5F81192500E}"/>
          </ac:spMkLst>
        </pc:spChg>
        <pc:spChg chg="add mod">
          <ac:chgData name="David Schlund | EWI" userId="00272c2a-d16f-4eb8-86ba-c28bcace438c" providerId="ADAL" clId="{46E1544F-72D8-4254-8935-79928106F321}" dt="2021-04-23T14:31:20.451" v="10392" actId="1076"/>
          <ac:spMkLst>
            <pc:docMk/>
            <pc:sldMk cId="794490125" sldId="284"/>
            <ac:spMk id="17" creationId="{159B3C8D-159C-446A-A927-E991D8237625}"/>
          </ac:spMkLst>
        </pc:spChg>
        <pc:spChg chg="add del mod">
          <ac:chgData name="David Schlund | EWI" userId="00272c2a-d16f-4eb8-86ba-c28bcace438c" providerId="ADAL" clId="{46E1544F-72D8-4254-8935-79928106F321}" dt="2021-04-23T14:31:21.987" v="10394" actId="478"/>
          <ac:spMkLst>
            <pc:docMk/>
            <pc:sldMk cId="794490125" sldId="284"/>
            <ac:spMk id="18" creationId="{AC79C6B9-2FE1-4887-9CD7-0561102B4638}"/>
          </ac:spMkLst>
        </pc:spChg>
        <pc:spChg chg="add mod">
          <ac:chgData name="David Schlund | EWI" userId="00272c2a-d16f-4eb8-86ba-c28bcace438c" providerId="ADAL" clId="{46E1544F-72D8-4254-8935-79928106F321}" dt="2021-04-28T09:25:00.367" v="27319" actId="20577"/>
          <ac:spMkLst>
            <pc:docMk/>
            <pc:sldMk cId="794490125" sldId="284"/>
            <ac:spMk id="19" creationId="{3AE35D18-080A-4F5B-AFF0-1B488A9FEB73}"/>
          </ac:spMkLst>
        </pc:spChg>
        <pc:spChg chg="add del mod">
          <ac:chgData name="David Schlund | EWI" userId="00272c2a-d16f-4eb8-86ba-c28bcace438c" providerId="ADAL" clId="{46E1544F-72D8-4254-8935-79928106F321}" dt="2021-04-23T14:31:41.198" v="10401" actId="478"/>
          <ac:spMkLst>
            <pc:docMk/>
            <pc:sldMk cId="794490125" sldId="284"/>
            <ac:spMk id="22" creationId="{BDBCEA03-D6DB-4795-95FC-EF767F9F3D7E}"/>
          </ac:spMkLst>
        </pc:spChg>
        <pc:graphicFrameChg chg="add mod ord modVis">
          <ac:chgData name="David Schlund | EWI" userId="00272c2a-d16f-4eb8-86ba-c28bcace438c" providerId="ADAL" clId="{46E1544F-72D8-4254-8935-79928106F321}" dt="2021-04-26T15:10:57.712" v="17465"/>
          <ac:graphicFrameMkLst>
            <pc:docMk/>
            <pc:sldMk cId="794490125" sldId="284"/>
            <ac:graphicFrameMk id="6" creationId="{1F6BE3B4-2DFF-4CCD-A2FE-7B99C7321E58}"/>
          </ac:graphicFrameMkLst>
        </pc:graphicFrameChg>
        <pc:picChg chg="del">
          <ac:chgData name="David Schlund | EWI" userId="00272c2a-d16f-4eb8-86ba-c28bcace438c" providerId="ADAL" clId="{46E1544F-72D8-4254-8935-79928106F321}" dt="2021-04-23T14:13:31.726" v="8817" actId="478"/>
          <ac:picMkLst>
            <pc:docMk/>
            <pc:sldMk cId="794490125" sldId="284"/>
            <ac:picMk id="7" creationId="{7BCB6112-89B2-4F54-8521-FE9F78F3A7ED}"/>
          </ac:picMkLst>
        </pc:picChg>
        <pc:picChg chg="mod">
          <ac:chgData name="David Schlund | EWI" userId="00272c2a-d16f-4eb8-86ba-c28bcace438c" providerId="ADAL" clId="{46E1544F-72D8-4254-8935-79928106F321}" dt="2021-04-27T07:24:26.619" v="18095" actId="1076"/>
          <ac:picMkLst>
            <pc:docMk/>
            <pc:sldMk cId="794490125" sldId="284"/>
            <ac:picMk id="7" creationId="{B5734A0A-D286-4A4F-A73F-D9A867332CFD}"/>
          </ac:picMkLst>
        </pc:picChg>
        <pc:picChg chg="del">
          <ac:chgData name="David Schlund | EWI" userId="00272c2a-d16f-4eb8-86ba-c28bcace438c" providerId="ADAL" clId="{46E1544F-72D8-4254-8935-79928106F321}" dt="2021-04-23T14:13:31.311" v="8816" actId="478"/>
          <ac:picMkLst>
            <pc:docMk/>
            <pc:sldMk cId="794490125" sldId="284"/>
            <ac:picMk id="9" creationId="{0E0A3FD3-2F47-4F78-B2E2-EAE0B7F3BA00}"/>
          </ac:picMkLst>
        </pc:picChg>
        <pc:picChg chg="add mod">
          <ac:chgData name="David Schlund | EWI" userId="00272c2a-d16f-4eb8-86ba-c28bcace438c" providerId="ADAL" clId="{46E1544F-72D8-4254-8935-79928106F321}" dt="2021-04-23T14:34:01.646" v="10682" actId="1076"/>
          <ac:picMkLst>
            <pc:docMk/>
            <pc:sldMk cId="794490125" sldId="284"/>
            <ac:picMk id="20" creationId="{1DF16A62-2B0F-41E7-9F48-78709AA5E25F}"/>
          </ac:picMkLst>
        </pc:picChg>
        <pc:picChg chg="add mod">
          <ac:chgData name="David Schlund | EWI" userId="00272c2a-d16f-4eb8-86ba-c28bcace438c" providerId="ADAL" clId="{46E1544F-72D8-4254-8935-79928106F321}" dt="2021-04-23T14:34:03.053" v="10683" actId="1076"/>
          <ac:picMkLst>
            <pc:docMk/>
            <pc:sldMk cId="794490125" sldId="284"/>
            <ac:picMk id="21" creationId="{656E63EB-6284-41B7-B7F9-804F94FECEA5}"/>
          </ac:picMkLst>
        </pc:picChg>
        <pc:cxnChg chg="mod">
          <ac:chgData name="David Schlund | EWI" userId="00272c2a-d16f-4eb8-86ba-c28bcace438c" providerId="ADAL" clId="{46E1544F-72D8-4254-8935-79928106F321}" dt="2021-04-27T15:38:49.632" v="24975" actId="1036"/>
          <ac:cxnSpMkLst>
            <pc:docMk/>
            <pc:sldMk cId="794490125" sldId="284"/>
            <ac:cxnSpMk id="16" creationId="{9764217E-0146-45C4-B162-90EF483BB08A}"/>
          </ac:cxnSpMkLst>
        </pc:cxnChg>
      </pc:sldChg>
      <pc:sldChg chg="add del">
        <pc:chgData name="David Schlund | EWI" userId="00272c2a-d16f-4eb8-86ba-c28bcace438c" providerId="ADAL" clId="{46E1544F-72D8-4254-8935-79928106F321}" dt="2021-04-23T14:13:54.393" v="8827"/>
        <pc:sldMkLst>
          <pc:docMk/>
          <pc:sldMk cId="826911274" sldId="285"/>
        </pc:sldMkLst>
      </pc:sldChg>
      <pc:sldChg chg="delSp modSp add mod ord">
        <pc:chgData name="David Schlund | EWI" userId="00272c2a-d16f-4eb8-86ba-c28bcace438c" providerId="ADAL" clId="{46E1544F-72D8-4254-8935-79928106F321}" dt="2021-04-28T13:58:51.681" v="32038" actId="478"/>
        <pc:sldMkLst>
          <pc:docMk/>
          <pc:sldMk cId="2106395261" sldId="285"/>
        </pc:sldMkLst>
        <pc:spChg chg="del">
          <ac:chgData name="David Schlund | EWI" userId="00272c2a-d16f-4eb8-86ba-c28bcace438c" providerId="ADAL" clId="{46E1544F-72D8-4254-8935-79928106F321}" dt="2021-04-28T13:58:51.681" v="32038" actId="478"/>
          <ac:spMkLst>
            <pc:docMk/>
            <pc:sldMk cId="2106395261" sldId="285"/>
            <ac:spMk id="5" creationId="{BBB5502C-C746-423B-8561-C6CFF488E82B}"/>
          </ac:spMkLst>
        </pc:spChg>
        <pc:spChg chg="mod">
          <ac:chgData name="David Schlund | EWI" userId="00272c2a-d16f-4eb8-86ba-c28bcace438c" providerId="ADAL" clId="{46E1544F-72D8-4254-8935-79928106F321}" dt="2021-04-26T09:10:28.583" v="13036" actId="14100"/>
          <ac:spMkLst>
            <pc:docMk/>
            <pc:sldMk cId="2106395261" sldId="285"/>
            <ac:spMk id="7" creationId="{5A9626CC-DE28-4680-96A2-4EEEBE921644}"/>
          </ac:spMkLst>
        </pc:spChg>
        <pc:graphicFrameChg chg="mod modGraphic">
          <ac:chgData name="David Schlund | EWI" userId="00272c2a-d16f-4eb8-86ba-c28bcace438c" providerId="ADAL" clId="{46E1544F-72D8-4254-8935-79928106F321}" dt="2021-04-27T12:29:34.620" v="22485" actId="2165"/>
          <ac:graphicFrameMkLst>
            <pc:docMk/>
            <pc:sldMk cId="2106395261" sldId="285"/>
            <ac:graphicFrameMk id="6" creationId="{B61B61F1-F2EE-4980-9DC3-7059C90299C5}"/>
          </ac:graphicFrameMkLst>
        </pc:graphicFrameChg>
      </pc:sldChg>
      <pc:sldChg chg="addSp delSp modSp new add mod ord modClrScheme chgLayout">
        <pc:chgData name="David Schlund | EWI" userId="00272c2a-d16f-4eb8-86ba-c28bcace438c" providerId="ADAL" clId="{46E1544F-72D8-4254-8935-79928106F321}" dt="2021-04-27T12:29:13.860" v="22478"/>
        <pc:sldMkLst>
          <pc:docMk/>
          <pc:sldMk cId="2318833528" sldId="286"/>
        </pc:sldMkLst>
        <pc:spChg chg="del">
          <ac:chgData name="David Schlund | EWI" userId="00272c2a-d16f-4eb8-86ba-c28bcace438c" providerId="ADAL" clId="{46E1544F-72D8-4254-8935-79928106F321}" dt="2021-04-25T10:37:02.714" v="11751"/>
          <ac:spMkLst>
            <pc:docMk/>
            <pc:sldMk cId="2318833528" sldId="286"/>
            <ac:spMk id="2" creationId="{92BC911B-929B-4E90-8D3B-52AAA884E8DC}"/>
          </ac:spMkLst>
        </pc:spChg>
        <pc:spChg chg="del">
          <ac:chgData name="David Schlund | EWI" userId="00272c2a-d16f-4eb8-86ba-c28bcace438c" providerId="ADAL" clId="{46E1544F-72D8-4254-8935-79928106F321}" dt="2021-04-25T10:37:02.714" v="11751"/>
          <ac:spMkLst>
            <pc:docMk/>
            <pc:sldMk cId="2318833528" sldId="286"/>
            <ac:spMk id="3" creationId="{DFBD2FC3-1C1C-46CF-9129-86B8893395B2}"/>
          </ac:spMkLst>
        </pc:spChg>
        <pc:spChg chg="del">
          <ac:chgData name="David Schlund | EWI" userId="00272c2a-d16f-4eb8-86ba-c28bcace438c" providerId="ADAL" clId="{46E1544F-72D8-4254-8935-79928106F321}" dt="2021-04-25T10:37:02.714" v="11751"/>
          <ac:spMkLst>
            <pc:docMk/>
            <pc:sldMk cId="2318833528" sldId="286"/>
            <ac:spMk id="4" creationId="{D35AD588-1601-41FF-8FDF-C58B18DABAEB}"/>
          </ac:spMkLst>
        </pc:spChg>
        <pc:spChg chg="add del mod ord">
          <ac:chgData name="David Schlund | EWI" userId="00272c2a-d16f-4eb8-86ba-c28bcace438c" providerId="ADAL" clId="{46E1544F-72D8-4254-8935-79928106F321}" dt="2021-04-25T10:37:04.362" v="11753"/>
          <ac:spMkLst>
            <pc:docMk/>
            <pc:sldMk cId="2318833528" sldId="286"/>
            <ac:spMk id="5" creationId="{ABF5854E-D00A-4550-A4EE-22A8EA076D01}"/>
          </ac:spMkLst>
        </pc:spChg>
        <pc:spChg chg="add del mod ord">
          <ac:chgData name="David Schlund | EWI" userId="00272c2a-d16f-4eb8-86ba-c28bcace438c" providerId="ADAL" clId="{46E1544F-72D8-4254-8935-79928106F321}" dt="2021-04-25T10:37:04.362" v="11753"/>
          <ac:spMkLst>
            <pc:docMk/>
            <pc:sldMk cId="2318833528" sldId="286"/>
            <ac:spMk id="6" creationId="{755CF767-7BA3-4E36-BCF3-BD33A8E8F110}"/>
          </ac:spMkLst>
        </pc:spChg>
        <pc:spChg chg="add del mod ord">
          <ac:chgData name="David Schlund | EWI" userId="00272c2a-d16f-4eb8-86ba-c28bcace438c" providerId="ADAL" clId="{46E1544F-72D8-4254-8935-79928106F321}" dt="2021-04-25T10:37:04.362" v="11753"/>
          <ac:spMkLst>
            <pc:docMk/>
            <pc:sldMk cId="2318833528" sldId="286"/>
            <ac:spMk id="7" creationId="{575B9DC0-C23A-454A-B4F9-CB84B60CB3C1}"/>
          </ac:spMkLst>
        </pc:spChg>
        <pc:spChg chg="add mod ord">
          <ac:chgData name="David Schlund | EWI" userId="00272c2a-d16f-4eb8-86ba-c28bcace438c" providerId="ADAL" clId="{46E1544F-72D8-4254-8935-79928106F321}" dt="2021-04-25T10:40:42.170" v="12218" actId="948"/>
          <ac:spMkLst>
            <pc:docMk/>
            <pc:sldMk cId="2318833528" sldId="286"/>
            <ac:spMk id="8" creationId="{DD765358-1E8D-46AA-ACA9-6B9F6C8F9120}"/>
          </ac:spMkLst>
        </pc:spChg>
        <pc:spChg chg="add mod ord">
          <ac:chgData name="David Schlund | EWI" userId="00272c2a-d16f-4eb8-86ba-c28bcace438c" providerId="ADAL" clId="{46E1544F-72D8-4254-8935-79928106F321}" dt="2021-04-25T10:40:24.111" v="11833" actId="113"/>
          <ac:spMkLst>
            <pc:docMk/>
            <pc:sldMk cId="2318833528" sldId="286"/>
            <ac:spMk id="9" creationId="{6F975688-0C55-41FD-974B-AC9EF7374F8D}"/>
          </ac:spMkLst>
        </pc:spChg>
        <pc:spChg chg="add del mod modVis">
          <ac:chgData name="David Schlund | EWI" userId="00272c2a-d16f-4eb8-86ba-c28bcace438c" providerId="ADAL" clId="{46E1544F-72D8-4254-8935-79928106F321}" dt="2021-04-25T10:40:32.357" v="11907"/>
          <ac:spMkLst>
            <pc:docMk/>
            <pc:sldMk cId="2318833528" sldId="286"/>
            <ac:spMk id="11" creationId="{EE8F3618-B213-4A33-8315-1F7EAED0C1A8}"/>
          </ac:spMkLst>
        </pc:spChg>
        <pc:spChg chg="add del mod modVis">
          <ac:chgData name="David Schlund | EWI" userId="00272c2a-d16f-4eb8-86ba-c28bcace438c" providerId="ADAL" clId="{46E1544F-72D8-4254-8935-79928106F321}" dt="2021-04-25T10:40:34.021" v="11949"/>
          <ac:spMkLst>
            <pc:docMk/>
            <pc:sldMk cId="2318833528" sldId="286"/>
            <ac:spMk id="12" creationId="{9DBAF8A1-937D-49B2-BF1C-697872A6B3F0}"/>
          </ac:spMkLst>
        </pc:spChg>
        <pc:spChg chg="add del mod modVis">
          <ac:chgData name="David Schlund | EWI" userId="00272c2a-d16f-4eb8-86ba-c28bcace438c" providerId="ADAL" clId="{46E1544F-72D8-4254-8935-79928106F321}" dt="2021-04-25T10:40:34.948" v="11991"/>
          <ac:spMkLst>
            <pc:docMk/>
            <pc:sldMk cId="2318833528" sldId="286"/>
            <ac:spMk id="13" creationId="{C71E427E-6BED-4CCD-A101-E68F205DF8D7}"/>
          </ac:spMkLst>
        </pc:spChg>
        <pc:spChg chg="add del mod modVis">
          <ac:chgData name="David Schlund | EWI" userId="00272c2a-d16f-4eb8-86ba-c28bcace438c" providerId="ADAL" clId="{46E1544F-72D8-4254-8935-79928106F321}" dt="2021-04-25T10:40:36.058" v="12033"/>
          <ac:spMkLst>
            <pc:docMk/>
            <pc:sldMk cId="2318833528" sldId="286"/>
            <ac:spMk id="14" creationId="{0DB93D4C-C117-475A-92E1-4599AFEF6B0B}"/>
          </ac:spMkLst>
        </pc:spChg>
        <pc:spChg chg="add del mod modVis">
          <ac:chgData name="David Schlund | EWI" userId="00272c2a-d16f-4eb8-86ba-c28bcace438c" providerId="ADAL" clId="{46E1544F-72D8-4254-8935-79928106F321}" dt="2021-04-25T10:40:36.848" v="12074"/>
          <ac:spMkLst>
            <pc:docMk/>
            <pc:sldMk cId="2318833528" sldId="286"/>
            <ac:spMk id="15" creationId="{72FB5CE6-4AC5-4D70-B273-E065F8C809A2}"/>
          </ac:spMkLst>
        </pc:spChg>
        <pc:spChg chg="add del mod modVis">
          <ac:chgData name="David Schlund | EWI" userId="00272c2a-d16f-4eb8-86ba-c28bcace438c" providerId="ADAL" clId="{46E1544F-72D8-4254-8935-79928106F321}" dt="2021-04-25T10:40:39.226" v="12125"/>
          <ac:spMkLst>
            <pc:docMk/>
            <pc:sldMk cId="2318833528" sldId="286"/>
            <ac:spMk id="16" creationId="{7B715EE7-2E6C-4CC8-BEFB-18411FD81875}"/>
          </ac:spMkLst>
        </pc:spChg>
        <pc:spChg chg="add del mod modVis">
          <ac:chgData name="David Schlund | EWI" userId="00272c2a-d16f-4eb8-86ba-c28bcace438c" providerId="ADAL" clId="{46E1544F-72D8-4254-8935-79928106F321}" dt="2021-04-25T10:40:40.623" v="12170"/>
          <ac:spMkLst>
            <pc:docMk/>
            <pc:sldMk cId="2318833528" sldId="286"/>
            <ac:spMk id="17" creationId="{86409860-EE13-4747-BA4C-E65ECB2AAE93}"/>
          </ac:spMkLst>
        </pc:spChg>
        <pc:spChg chg="add del mod modVis">
          <ac:chgData name="David Schlund | EWI" userId="00272c2a-d16f-4eb8-86ba-c28bcace438c" providerId="ADAL" clId="{46E1544F-72D8-4254-8935-79928106F321}" dt="2021-04-25T10:40:41.253" v="12211"/>
          <ac:spMkLst>
            <pc:docMk/>
            <pc:sldMk cId="2318833528" sldId="286"/>
            <ac:spMk id="18" creationId="{F7EEB2F9-95C2-41EE-B2BA-6EF03EB1A73C}"/>
          </ac:spMkLst>
        </pc:spChg>
        <pc:spChg chg="add del mod modVis">
          <ac:chgData name="David Schlund | EWI" userId="00272c2a-d16f-4eb8-86ba-c28bcace438c" providerId="ADAL" clId="{46E1544F-72D8-4254-8935-79928106F321}" dt="2021-04-25T10:40:42.202" v="12255"/>
          <ac:spMkLst>
            <pc:docMk/>
            <pc:sldMk cId="2318833528" sldId="286"/>
            <ac:spMk id="19" creationId="{08B44DB8-C73D-41DA-B7FA-D892E41F5977}"/>
          </ac:spMkLst>
        </pc:spChg>
        <pc:graphicFrameChg chg="add mod ord modVis">
          <ac:chgData name="David Schlund | EWI" userId="00272c2a-d16f-4eb8-86ba-c28bcace438c" providerId="ADAL" clId="{46E1544F-72D8-4254-8935-79928106F321}" dt="2021-04-25T10:40:42.202" v="12257"/>
          <ac:graphicFrameMkLst>
            <pc:docMk/>
            <pc:sldMk cId="2318833528" sldId="286"/>
            <ac:graphicFrameMk id="10" creationId="{D020D009-7F2C-4A9B-8CE1-C1DA17BEA08E}"/>
          </ac:graphicFrameMkLst>
        </pc:graphicFrameChg>
      </pc:sldChg>
      <pc:sldChg chg="modSp add del mod ord">
        <pc:chgData name="David Schlund | EWI" userId="00272c2a-d16f-4eb8-86ba-c28bcace438c" providerId="ADAL" clId="{46E1544F-72D8-4254-8935-79928106F321}" dt="2021-04-25T10:34:20.304" v="11738" actId="47"/>
        <pc:sldMkLst>
          <pc:docMk/>
          <pc:sldMk cId="3259375056" sldId="286"/>
        </pc:sldMkLst>
        <pc:spChg chg="mod">
          <ac:chgData name="David Schlund | EWI" userId="00272c2a-d16f-4eb8-86ba-c28bcace438c" providerId="ADAL" clId="{46E1544F-72D8-4254-8935-79928106F321}" dt="2021-04-25T10:23:31.179" v="11380" actId="1076"/>
          <ac:spMkLst>
            <pc:docMk/>
            <pc:sldMk cId="3259375056" sldId="286"/>
            <ac:spMk id="3" creationId="{A1DBF99F-0D09-4871-8911-C21F1DFFE02F}"/>
          </ac:spMkLst>
        </pc:spChg>
        <pc:spChg chg="mod">
          <ac:chgData name="David Schlund | EWI" userId="00272c2a-d16f-4eb8-86ba-c28bcace438c" providerId="ADAL" clId="{46E1544F-72D8-4254-8935-79928106F321}" dt="2021-04-25T10:32:57.333" v="11685" actId="20577"/>
          <ac:spMkLst>
            <pc:docMk/>
            <pc:sldMk cId="3259375056" sldId="286"/>
            <ac:spMk id="6" creationId="{9CBFA281-9984-4D1D-9084-C4ECA40CB62B}"/>
          </ac:spMkLst>
        </pc:spChg>
        <pc:spChg chg="mod">
          <ac:chgData name="David Schlund | EWI" userId="00272c2a-d16f-4eb8-86ba-c28bcace438c" providerId="ADAL" clId="{46E1544F-72D8-4254-8935-79928106F321}" dt="2021-04-25T10:23:32.196" v="11381" actId="1076"/>
          <ac:spMkLst>
            <pc:docMk/>
            <pc:sldMk cId="3259375056" sldId="286"/>
            <ac:spMk id="33" creationId="{8DC99FED-1B02-4860-9EC5-1E97B89E6829}"/>
          </ac:spMkLst>
        </pc:spChg>
        <pc:spChg chg="mod">
          <ac:chgData name="David Schlund | EWI" userId="00272c2a-d16f-4eb8-86ba-c28bcace438c" providerId="ADAL" clId="{46E1544F-72D8-4254-8935-79928106F321}" dt="2021-04-25T10:23:34.090" v="11382" actId="1076"/>
          <ac:spMkLst>
            <pc:docMk/>
            <pc:sldMk cId="3259375056" sldId="286"/>
            <ac:spMk id="59" creationId="{C42D454D-27BE-4ADF-A5AA-5ECB336ECDEE}"/>
          </ac:spMkLst>
        </pc:spChg>
      </pc:sldChg>
      <pc:sldChg chg="add del">
        <pc:chgData name="David Schlund | EWI" userId="00272c2a-d16f-4eb8-86ba-c28bcace438c" providerId="ADAL" clId="{46E1544F-72D8-4254-8935-79928106F321}" dt="2021-04-25T10:54:29.283" v="12657" actId="47"/>
        <pc:sldMkLst>
          <pc:docMk/>
          <pc:sldMk cId="893792098" sldId="287"/>
        </pc:sldMkLst>
      </pc:sldChg>
      <pc:sldChg chg="ord">
        <pc:chgData name="David Schlund | EWI" userId="00272c2a-d16f-4eb8-86ba-c28bcace438c" providerId="ADAL" clId="{46E1544F-72D8-4254-8935-79928106F321}" dt="2021-04-27T12:29:15.364" v="22480"/>
        <pc:sldMkLst>
          <pc:docMk/>
          <pc:sldMk cId="3592637296" sldId="287"/>
        </pc:sldMkLst>
      </pc:sldChg>
      <pc:sldChg chg="addSp modSp new add mod modClrScheme chgLayout">
        <pc:chgData name="David Schlund | EWI" userId="00272c2a-d16f-4eb8-86ba-c28bcace438c" providerId="ADAL" clId="{46E1544F-72D8-4254-8935-79928106F321}" dt="2021-04-27T11:47:32.171" v="20954" actId="20577"/>
        <pc:sldMkLst>
          <pc:docMk/>
          <pc:sldMk cId="850534046" sldId="288"/>
        </pc:sldMkLst>
        <pc:spChg chg="add mod">
          <ac:chgData name="David Schlund | EWI" userId="00272c2a-d16f-4eb8-86ba-c28bcace438c" providerId="ADAL" clId="{46E1544F-72D8-4254-8935-79928106F321}" dt="2021-04-26T15:02:01.163" v="17009" actId="948"/>
          <ac:spMkLst>
            <pc:docMk/>
            <pc:sldMk cId="850534046" sldId="288"/>
            <ac:spMk id="2" creationId="{0207447E-7391-4D0E-AA7C-DD119217D8C5}"/>
          </ac:spMkLst>
        </pc:spChg>
        <pc:spChg chg="add mod">
          <ac:chgData name="David Schlund | EWI" userId="00272c2a-d16f-4eb8-86ba-c28bcace438c" providerId="ADAL" clId="{46E1544F-72D8-4254-8935-79928106F321}" dt="2021-04-27T11:47:32.171" v="20954" actId="20577"/>
          <ac:spMkLst>
            <pc:docMk/>
            <pc:sldMk cId="850534046" sldId="288"/>
            <ac:spMk id="3" creationId="{7039E282-F6C2-435B-B9B8-8E01BEDAC83E}"/>
          </ac:spMkLst>
        </pc:spChg>
        <pc:graphicFrameChg chg="add mod ord modVis">
          <ac:chgData name="David Schlund | EWI" userId="00272c2a-d16f-4eb8-86ba-c28bcace438c" providerId="ADAL" clId="{46E1544F-72D8-4254-8935-79928106F321}" dt="2021-04-26T15:02:01.173" v="17011"/>
          <ac:graphicFrameMkLst>
            <pc:docMk/>
            <pc:sldMk cId="850534046" sldId="288"/>
            <ac:graphicFrameMk id="4" creationId="{212EF783-CE84-4631-9673-B659F536F6F1}"/>
          </ac:graphicFrameMkLst>
        </pc:graphicFrameChg>
      </pc:sldChg>
      <pc:sldChg chg="addSp delSp modSp new add del mod">
        <pc:chgData name="David Schlund | EWI" userId="00272c2a-d16f-4eb8-86ba-c28bcace438c" providerId="ADAL" clId="{46E1544F-72D8-4254-8935-79928106F321}" dt="2021-04-25T10:54:30.265" v="12658" actId="47"/>
        <pc:sldMkLst>
          <pc:docMk/>
          <pc:sldMk cId="3237982811" sldId="288"/>
        </pc:sldMkLst>
        <pc:spChg chg="del">
          <ac:chgData name="David Schlund | EWI" userId="00272c2a-d16f-4eb8-86ba-c28bcace438c" providerId="ADAL" clId="{46E1544F-72D8-4254-8935-79928106F321}" dt="2021-04-25T10:53:37.892" v="12635" actId="478"/>
          <ac:spMkLst>
            <pc:docMk/>
            <pc:sldMk cId="3237982811" sldId="288"/>
            <ac:spMk id="3" creationId="{15965117-CBCE-4CB4-9160-167A1F60148A}"/>
          </ac:spMkLst>
        </pc:spChg>
        <pc:spChg chg="del">
          <ac:chgData name="David Schlund | EWI" userId="00272c2a-d16f-4eb8-86ba-c28bcace438c" providerId="ADAL" clId="{46E1544F-72D8-4254-8935-79928106F321}" dt="2021-04-25T10:53:38.735" v="12636" actId="478"/>
          <ac:spMkLst>
            <pc:docMk/>
            <pc:sldMk cId="3237982811" sldId="288"/>
            <ac:spMk id="4" creationId="{5805F8C4-0891-46C4-A124-DBCFEC88E060}"/>
          </ac:spMkLst>
        </pc:spChg>
        <pc:spChg chg="add del mod">
          <ac:chgData name="David Schlund | EWI" userId="00272c2a-d16f-4eb8-86ba-c28bcace438c" providerId="ADAL" clId="{46E1544F-72D8-4254-8935-79928106F321}" dt="2021-04-25T10:53:55.875" v="12638"/>
          <ac:spMkLst>
            <pc:docMk/>
            <pc:sldMk cId="3237982811" sldId="288"/>
            <ac:spMk id="5" creationId="{2AC78C52-8840-4D08-8728-DBC675154D4E}"/>
          </ac:spMkLst>
        </pc:spChg>
        <pc:spChg chg="add del mod">
          <ac:chgData name="David Schlund | EWI" userId="00272c2a-d16f-4eb8-86ba-c28bcace438c" providerId="ADAL" clId="{46E1544F-72D8-4254-8935-79928106F321}" dt="2021-04-25T10:53:55.875" v="12638"/>
          <ac:spMkLst>
            <pc:docMk/>
            <pc:sldMk cId="3237982811" sldId="288"/>
            <ac:spMk id="6" creationId="{71089AB1-8D69-446C-8E43-70D84959E55D}"/>
          </ac:spMkLst>
        </pc:spChg>
        <pc:spChg chg="add del mod">
          <ac:chgData name="David Schlund | EWI" userId="00272c2a-d16f-4eb8-86ba-c28bcace438c" providerId="ADAL" clId="{46E1544F-72D8-4254-8935-79928106F321}" dt="2021-04-25T10:53:55.875" v="12638"/>
          <ac:spMkLst>
            <pc:docMk/>
            <pc:sldMk cId="3237982811" sldId="288"/>
            <ac:spMk id="7" creationId="{68D701E7-42BC-49ED-B0AE-BB10581C2034}"/>
          </ac:spMkLst>
        </pc:spChg>
        <pc:spChg chg="del mod">
          <ac:chgData name="David Schlund | EWI" userId="00272c2a-d16f-4eb8-86ba-c28bcace438c" providerId="ADAL" clId="{46E1544F-72D8-4254-8935-79928106F321}" dt="2021-04-25T10:54:00.388" v="12642" actId="478"/>
          <ac:spMkLst>
            <pc:docMk/>
            <pc:sldMk cId="3237982811" sldId="288"/>
            <ac:spMk id="8" creationId="{48ED0FBF-2826-409E-AF09-0B3F0FEAEB55}"/>
          </ac:spMkLst>
        </pc:spChg>
        <pc:spChg chg="del mod">
          <ac:chgData name="David Schlund | EWI" userId="00272c2a-d16f-4eb8-86ba-c28bcace438c" providerId="ADAL" clId="{46E1544F-72D8-4254-8935-79928106F321}" dt="2021-04-25T10:53:59.801" v="12641" actId="478"/>
          <ac:spMkLst>
            <pc:docMk/>
            <pc:sldMk cId="3237982811" sldId="288"/>
            <ac:spMk id="9" creationId="{80C834D2-1DEF-481B-AB4A-750C2B31CECD}"/>
          </ac:spMkLst>
        </pc:spChg>
        <pc:spChg chg="del mod">
          <ac:chgData name="David Schlund | EWI" userId="00272c2a-d16f-4eb8-86ba-c28bcace438c" providerId="ADAL" clId="{46E1544F-72D8-4254-8935-79928106F321}" dt="2021-04-25T10:54:01.657" v="12643" actId="478"/>
          <ac:spMkLst>
            <pc:docMk/>
            <pc:sldMk cId="3237982811" sldId="288"/>
            <ac:spMk id="10" creationId="{0DFCC759-5C9A-4D0D-8244-9FDB38BC888A}"/>
          </ac:spMkLst>
        </pc:spChg>
        <pc:spChg chg="del mod">
          <ac:chgData name="David Schlund | EWI" userId="00272c2a-d16f-4eb8-86ba-c28bcace438c" providerId="ADAL" clId="{46E1544F-72D8-4254-8935-79928106F321}" dt="2021-04-25T10:54:07.108" v="12648" actId="478"/>
          <ac:spMkLst>
            <pc:docMk/>
            <pc:sldMk cId="3237982811" sldId="288"/>
            <ac:spMk id="11" creationId="{4D166D66-ED80-4F93-A3A5-CD9FC364C412}"/>
          </ac:spMkLst>
        </pc:spChg>
        <pc:spChg chg="del mod">
          <ac:chgData name="David Schlund | EWI" userId="00272c2a-d16f-4eb8-86ba-c28bcace438c" providerId="ADAL" clId="{46E1544F-72D8-4254-8935-79928106F321}" dt="2021-04-25T10:54:04.292" v="12645" actId="478"/>
          <ac:spMkLst>
            <pc:docMk/>
            <pc:sldMk cId="3237982811" sldId="288"/>
            <ac:spMk id="12" creationId="{BD743146-749A-47D2-92E7-66FE976D88DE}"/>
          </ac:spMkLst>
        </pc:spChg>
        <pc:spChg chg="del mod">
          <ac:chgData name="David Schlund | EWI" userId="00272c2a-d16f-4eb8-86ba-c28bcace438c" providerId="ADAL" clId="{46E1544F-72D8-4254-8935-79928106F321}" dt="2021-04-25T10:54:19.439" v="12654" actId="21"/>
          <ac:spMkLst>
            <pc:docMk/>
            <pc:sldMk cId="3237982811" sldId="288"/>
            <ac:spMk id="13" creationId="{CA347F3F-9DC7-4F56-B653-D8F72CDB34CD}"/>
          </ac:spMkLst>
        </pc:spChg>
        <pc:spChg chg="del mod">
          <ac:chgData name="David Schlund | EWI" userId="00272c2a-d16f-4eb8-86ba-c28bcace438c" providerId="ADAL" clId="{46E1544F-72D8-4254-8935-79928106F321}" dt="2021-04-25T10:54:05.241" v="12647" actId="478"/>
          <ac:spMkLst>
            <pc:docMk/>
            <pc:sldMk cId="3237982811" sldId="288"/>
            <ac:spMk id="14" creationId="{402696B8-FD94-4002-8DE3-6F8DA53C1CC4}"/>
          </ac:spMkLst>
        </pc:spChg>
      </pc:sldChg>
      <pc:sldChg chg="addSp delSp modSp new add mod ord modClrScheme chgLayout">
        <pc:chgData name="David Schlund | EWI" userId="00272c2a-d16f-4eb8-86ba-c28bcace438c" providerId="ADAL" clId="{46E1544F-72D8-4254-8935-79928106F321}" dt="2021-04-27T12:29:13.860" v="22478"/>
        <pc:sldMkLst>
          <pc:docMk/>
          <pc:sldMk cId="3829880247" sldId="289"/>
        </pc:sldMkLst>
        <pc:spChg chg="del mod ord">
          <ac:chgData name="David Schlund | EWI" userId="00272c2a-d16f-4eb8-86ba-c28bcace438c" providerId="ADAL" clId="{46E1544F-72D8-4254-8935-79928106F321}" dt="2021-04-26T11:45:50.610" v="13066"/>
          <ac:spMkLst>
            <pc:docMk/>
            <pc:sldMk cId="3829880247" sldId="289"/>
            <ac:spMk id="2" creationId="{B93FE244-45EE-4C7F-B98A-FEFC85B4E318}"/>
          </ac:spMkLst>
        </pc:spChg>
        <pc:spChg chg="del mod ord">
          <ac:chgData name="David Schlund | EWI" userId="00272c2a-d16f-4eb8-86ba-c28bcace438c" providerId="ADAL" clId="{46E1544F-72D8-4254-8935-79928106F321}" dt="2021-04-26T11:45:50.610" v="13066"/>
          <ac:spMkLst>
            <pc:docMk/>
            <pc:sldMk cId="3829880247" sldId="289"/>
            <ac:spMk id="3" creationId="{21160B33-1E47-4AB9-95DE-5BD0D4D66CB7}"/>
          </ac:spMkLst>
        </pc:spChg>
        <pc:spChg chg="del">
          <ac:chgData name="David Schlund | EWI" userId="00272c2a-d16f-4eb8-86ba-c28bcace438c" providerId="ADAL" clId="{46E1544F-72D8-4254-8935-79928106F321}" dt="2021-04-26T11:45:50.610" v="13066"/>
          <ac:spMkLst>
            <pc:docMk/>
            <pc:sldMk cId="3829880247" sldId="289"/>
            <ac:spMk id="4" creationId="{290B463C-A46B-4A1D-8781-8529AA813373}"/>
          </ac:spMkLst>
        </pc:spChg>
        <pc:spChg chg="add mod ord">
          <ac:chgData name="David Schlund | EWI" userId="00272c2a-d16f-4eb8-86ba-c28bcace438c" providerId="ADAL" clId="{46E1544F-72D8-4254-8935-79928106F321}" dt="2021-04-26T11:46:40.278" v="13707" actId="948"/>
          <ac:spMkLst>
            <pc:docMk/>
            <pc:sldMk cId="3829880247" sldId="289"/>
            <ac:spMk id="5" creationId="{FCDE5768-38A9-403C-ABE9-C3A64507A94A}"/>
          </ac:spMkLst>
        </pc:spChg>
        <pc:spChg chg="add mod ord">
          <ac:chgData name="David Schlund | EWI" userId="00272c2a-d16f-4eb8-86ba-c28bcace438c" providerId="ADAL" clId="{46E1544F-72D8-4254-8935-79928106F321}" dt="2021-04-27T09:06:40.142" v="18447" actId="20577"/>
          <ac:spMkLst>
            <pc:docMk/>
            <pc:sldMk cId="3829880247" sldId="289"/>
            <ac:spMk id="6" creationId="{77C5F8F9-7F82-4670-AEF3-3B16575F69B3}"/>
          </ac:spMkLst>
        </pc:spChg>
        <pc:spChg chg="add del mod modVis">
          <ac:chgData name="David Schlund | EWI" userId="00272c2a-d16f-4eb8-86ba-c28bcace438c" providerId="ADAL" clId="{46E1544F-72D8-4254-8935-79928106F321}" dt="2021-04-26T11:46:06.070" v="13148"/>
          <ac:spMkLst>
            <pc:docMk/>
            <pc:sldMk cId="3829880247" sldId="289"/>
            <ac:spMk id="8" creationId="{D6AE4848-5C1F-4C48-9B68-329944588A58}"/>
          </ac:spMkLst>
        </pc:spChg>
        <pc:spChg chg="add del mod modVis">
          <ac:chgData name="David Schlund | EWI" userId="00272c2a-d16f-4eb8-86ba-c28bcace438c" providerId="ADAL" clId="{46E1544F-72D8-4254-8935-79928106F321}" dt="2021-04-26T11:46:18.149" v="13250"/>
          <ac:spMkLst>
            <pc:docMk/>
            <pc:sldMk cId="3829880247" sldId="289"/>
            <ac:spMk id="9" creationId="{BB6E62D3-5B99-45EF-888F-6FF9BAE07E40}"/>
          </ac:spMkLst>
        </pc:spChg>
        <pc:spChg chg="add del mod modVis">
          <ac:chgData name="David Schlund | EWI" userId="00272c2a-d16f-4eb8-86ba-c28bcace438c" providerId="ADAL" clId="{46E1544F-72D8-4254-8935-79928106F321}" dt="2021-04-26T11:46:20.539" v="13300"/>
          <ac:spMkLst>
            <pc:docMk/>
            <pc:sldMk cId="3829880247" sldId="289"/>
            <ac:spMk id="10" creationId="{9DA448F7-9129-49CA-BABD-5068A095AE9C}"/>
          </ac:spMkLst>
        </pc:spChg>
        <pc:spChg chg="add del mod modVis">
          <ac:chgData name="David Schlund | EWI" userId="00272c2a-d16f-4eb8-86ba-c28bcace438c" providerId="ADAL" clId="{46E1544F-72D8-4254-8935-79928106F321}" dt="2021-04-26T11:46:22.273" v="13343"/>
          <ac:spMkLst>
            <pc:docMk/>
            <pc:sldMk cId="3829880247" sldId="289"/>
            <ac:spMk id="11" creationId="{CCD35A8E-9EC2-4DA1-9B8E-01114ECD1BE1}"/>
          </ac:spMkLst>
        </pc:spChg>
        <pc:spChg chg="add del mod modVis">
          <ac:chgData name="David Schlund | EWI" userId="00272c2a-d16f-4eb8-86ba-c28bcace438c" providerId="ADAL" clId="{46E1544F-72D8-4254-8935-79928106F321}" dt="2021-04-26T11:46:24.118" v="13388"/>
          <ac:spMkLst>
            <pc:docMk/>
            <pc:sldMk cId="3829880247" sldId="289"/>
            <ac:spMk id="12" creationId="{1F5CB98B-30C8-4350-901E-54CAC03EEE77}"/>
          </ac:spMkLst>
        </pc:spChg>
        <pc:spChg chg="add del mod modVis">
          <ac:chgData name="David Schlund | EWI" userId="00272c2a-d16f-4eb8-86ba-c28bcace438c" providerId="ADAL" clId="{46E1544F-72D8-4254-8935-79928106F321}" dt="2021-04-26T11:46:26.070" v="13437"/>
          <ac:spMkLst>
            <pc:docMk/>
            <pc:sldMk cId="3829880247" sldId="289"/>
            <ac:spMk id="13" creationId="{228B6180-3A7E-490D-80F5-73D29D7B85DC}"/>
          </ac:spMkLst>
        </pc:spChg>
        <pc:spChg chg="add del mod modVis">
          <ac:chgData name="David Schlund | EWI" userId="00272c2a-d16f-4eb8-86ba-c28bcace438c" providerId="ADAL" clId="{46E1544F-72D8-4254-8935-79928106F321}" dt="2021-04-26T11:46:26.704" v="13478"/>
          <ac:spMkLst>
            <pc:docMk/>
            <pc:sldMk cId="3829880247" sldId="289"/>
            <ac:spMk id="14" creationId="{4911AE65-639F-45A8-8CC6-C7DE304CFED7}"/>
          </ac:spMkLst>
        </pc:spChg>
        <pc:spChg chg="add del mod modVis">
          <ac:chgData name="David Schlund | EWI" userId="00272c2a-d16f-4eb8-86ba-c28bcace438c" providerId="ADAL" clId="{46E1544F-72D8-4254-8935-79928106F321}" dt="2021-04-26T11:46:28.078" v="13523"/>
          <ac:spMkLst>
            <pc:docMk/>
            <pc:sldMk cId="3829880247" sldId="289"/>
            <ac:spMk id="15" creationId="{1980069C-D958-4741-8298-032EF1A5EF8C}"/>
          </ac:spMkLst>
        </pc:spChg>
        <pc:spChg chg="add del mod modVis">
          <ac:chgData name="David Schlund | EWI" userId="00272c2a-d16f-4eb8-86ba-c28bcace438c" providerId="ADAL" clId="{46E1544F-72D8-4254-8935-79928106F321}" dt="2021-04-26T11:46:30.614" v="13577"/>
          <ac:spMkLst>
            <pc:docMk/>
            <pc:sldMk cId="3829880247" sldId="289"/>
            <ac:spMk id="16" creationId="{8FB4AFB3-9FD1-4D6F-AC83-F4D3FD873F28}"/>
          </ac:spMkLst>
        </pc:spChg>
        <pc:spChg chg="add del mod modVis">
          <ac:chgData name="David Schlund | EWI" userId="00272c2a-d16f-4eb8-86ba-c28bcace438c" providerId="ADAL" clId="{46E1544F-72D8-4254-8935-79928106F321}" dt="2021-04-26T11:46:38.913" v="13662"/>
          <ac:spMkLst>
            <pc:docMk/>
            <pc:sldMk cId="3829880247" sldId="289"/>
            <ac:spMk id="17" creationId="{48232C5B-C91E-4897-81CD-67C1A54EEBD7}"/>
          </ac:spMkLst>
        </pc:spChg>
        <pc:spChg chg="add del mod modVis">
          <ac:chgData name="David Schlund | EWI" userId="00272c2a-d16f-4eb8-86ba-c28bcace438c" providerId="ADAL" clId="{46E1544F-72D8-4254-8935-79928106F321}" dt="2021-04-26T11:46:39.589" v="13703"/>
          <ac:spMkLst>
            <pc:docMk/>
            <pc:sldMk cId="3829880247" sldId="289"/>
            <ac:spMk id="18" creationId="{009223B4-F032-43B1-AF29-244659859499}"/>
          </ac:spMkLst>
        </pc:spChg>
        <pc:spChg chg="add del mod modVis">
          <ac:chgData name="David Schlund | EWI" userId="00272c2a-d16f-4eb8-86ba-c28bcace438c" providerId="ADAL" clId="{46E1544F-72D8-4254-8935-79928106F321}" dt="2021-04-26T11:46:40.321" v="13744"/>
          <ac:spMkLst>
            <pc:docMk/>
            <pc:sldMk cId="3829880247" sldId="289"/>
            <ac:spMk id="19" creationId="{D4CF7DF5-C9AB-43CB-8184-3A7730CD3161}"/>
          </ac:spMkLst>
        </pc:spChg>
        <pc:spChg chg="add del">
          <ac:chgData name="David Schlund | EWI" userId="00272c2a-d16f-4eb8-86ba-c28bcace438c" providerId="ADAL" clId="{46E1544F-72D8-4254-8935-79928106F321}" dt="2021-04-26T11:55:03.596" v="14051" actId="22"/>
          <ac:spMkLst>
            <pc:docMk/>
            <pc:sldMk cId="3829880247" sldId="289"/>
            <ac:spMk id="21" creationId="{D17436BB-CC73-469D-822F-D1B906C67FB3}"/>
          </ac:spMkLst>
        </pc:spChg>
        <pc:spChg chg="add mod">
          <ac:chgData name="David Schlund | EWI" userId="00272c2a-d16f-4eb8-86ba-c28bcace438c" providerId="ADAL" clId="{46E1544F-72D8-4254-8935-79928106F321}" dt="2021-04-27T09:06:32.312" v="18441" actId="20577"/>
          <ac:spMkLst>
            <pc:docMk/>
            <pc:sldMk cId="3829880247" sldId="289"/>
            <ac:spMk id="22" creationId="{A70EDCA5-41F3-4DC7-ADDB-24346BA38A74}"/>
          </ac:spMkLst>
        </pc:spChg>
        <pc:graphicFrameChg chg="add mod ord modVis">
          <ac:chgData name="David Schlund | EWI" userId="00272c2a-d16f-4eb8-86ba-c28bcace438c" providerId="ADAL" clId="{46E1544F-72D8-4254-8935-79928106F321}" dt="2021-04-26T11:46:40.321" v="13746"/>
          <ac:graphicFrameMkLst>
            <pc:docMk/>
            <pc:sldMk cId="3829880247" sldId="289"/>
            <ac:graphicFrameMk id="7" creationId="{4FE0BF3A-6AF9-4FFE-A538-15B0E98BDA57}"/>
          </ac:graphicFrameMkLst>
        </pc:graphicFrameChg>
      </pc:sldChg>
      <pc:sldChg chg="addSp delSp modSp new add mod ord modClrScheme chgLayout modNotesTx">
        <pc:chgData name="David Schlund | EWI" userId="00272c2a-d16f-4eb8-86ba-c28bcace438c" providerId="ADAL" clId="{46E1544F-72D8-4254-8935-79928106F321}" dt="2021-04-27T16:29:55.036" v="25081"/>
        <pc:sldMkLst>
          <pc:docMk/>
          <pc:sldMk cId="613826189" sldId="290"/>
        </pc:sldMkLst>
        <pc:spChg chg="del mod ord">
          <ac:chgData name="David Schlund | EWI" userId="00272c2a-d16f-4eb8-86ba-c28bcace438c" providerId="ADAL" clId="{46E1544F-72D8-4254-8935-79928106F321}" dt="2021-04-26T13:55:29.774" v="14274"/>
          <ac:spMkLst>
            <pc:docMk/>
            <pc:sldMk cId="613826189" sldId="290"/>
            <ac:spMk id="2" creationId="{5537CFF1-9854-4A5C-A27D-455EA6F4B70D}"/>
          </ac:spMkLst>
        </pc:spChg>
        <pc:spChg chg="del mod ord">
          <ac:chgData name="David Schlund | EWI" userId="00272c2a-d16f-4eb8-86ba-c28bcace438c" providerId="ADAL" clId="{46E1544F-72D8-4254-8935-79928106F321}" dt="2021-04-26T13:55:29.774" v="14274"/>
          <ac:spMkLst>
            <pc:docMk/>
            <pc:sldMk cId="613826189" sldId="290"/>
            <ac:spMk id="3" creationId="{1AAE4877-DAEB-41EC-B09F-C4C1D79878EF}"/>
          </ac:spMkLst>
        </pc:spChg>
        <pc:spChg chg="del">
          <ac:chgData name="David Schlund | EWI" userId="00272c2a-d16f-4eb8-86ba-c28bcace438c" providerId="ADAL" clId="{46E1544F-72D8-4254-8935-79928106F321}" dt="2021-04-26T13:55:29.774" v="14274"/>
          <ac:spMkLst>
            <pc:docMk/>
            <pc:sldMk cId="613826189" sldId="290"/>
            <ac:spMk id="4" creationId="{4AAAA528-10BA-4A1D-88FE-EAC897B14632}"/>
          </ac:spMkLst>
        </pc:spChg>
        <pc:spChg chg="add mod ord">
          <ac:chgData name="David Schlund | EWI" userId="00272c2a-d16f-4eb8-86ba-c28bcace438c" providerId="ADAL" clId="{46E1544F-72D8-4254-8935-79928106F321}" dt="2021-04-26T13:55:38.892" v="14310" actId="948"/>
          <ac:spMkLst>
            <pc:docMk/>
            <pc:sldMk cId="613826189" sldId="290"/>
            <ac:spMk id="6" creationId="{71DE70E8-6E87-4BE2-B663-BD3C775F6940}"/>
          </ac:spMkLst>
        </pc:spChg>
        <pc:spChg chg="add mod ord">
          <ac:chgData name="David Schlund | EWI" userId="00272c2a-d16f-4eb8-86ba-c28bcace438c" providerId="ADAL" clId="{46E1544F-72D8-4254-8935-79928106F321}" dt="2021-04-27T16:29:55.036" v="25081"/>
          <ac:spMkLst>
            <pc:docMk/>
            <pc:sldMk cId="613826189" sldId="290"/>
            <ac:spMk id="7" creationId="{1BF77EAB-12DF-45CD-8C01-25E0F58A58E8}"/>
          </ac:spMkLst>
        </pc:spChg>
        <pc:graphicFrameChg chg="add mod ord modVis">
          <ac:chgData name="David Schlund | EWI" userId="00272c2a-d16f-4eb8-86ba-c28bcace438c" providerId="ADAL" clId="{46E1544F-72D8-4254-8935-79928106F321}" dt="2021-04-26T13:55:38.894" v="14312"/>
          <ac:graphicFrameMkLst>
            <pc:docMk/>
            <pc:sldMk cId="613826189" sldId="290"/>
            <ac:graphicFrameMk id="5" creationId="{126B75A6-7AC1-40C4-AF45-69F9CDA37CD9}"/>
          </ac:graphicFrameMkLst>
        </pc:graphicFrameChg>
      </pc:sldChg>
      <pc:sldChg chg="new add del">
        <pc:chgData name="David Schlund | EWI" userId="00272c2a-d16f-4eb8-86ba-c28bcace438c" providerId="ADAL" clId="{46E1544F-72D8-4254-8935-79928106F321}" dt="2021-04-27T07:23:49.606" v="18089" actId="680"/>
        <pc:sldMkLst>
          <pc:docMk/>
          <pc:sldMk cId="53053380" sldId="291"/>
        </pc:sldMkLst>
      </pc:sldChg>
      <pc:sldChg chg="addSp delSp modSp new add mod modClrScheme modAnim chgLayout modNotesTx">
        <pc:chgData name="David Schlund | EWI" userId="00272c2a-d16f-4eb8-86ba-c28bcace438c" providerId="ADAL" clId="{46E1544F-72D8-4254-8935-79928106F321}" dt="2021-04-28T13:01:25.770" v="32036" actId="20577"/>
        <pc:sldMkLst>
          <pc:docMk/>
          <pc:sldMk cId="430598168" sldId="291"/>
        </pc:sldMkLst>
        <pc:spChg chg="del mod ord">
          <ac:chgData name="David Schlund | EWI" userId="00272c2a-d16f-4eb8-86ba-c28bcace438c" providerId="ADAL" clId="{46E1544F-72D8-4254-8935-79928106F321}" dt="2021-04-27T07:38:06.635" v="18139"/>
          <ac:spMkLst>
            <pc:docMk/>
            <pc:sldMk cId="430598168" sldId="291"/>
            <ac:spMk id="2" creationId="{9BC431A3-F94E-4854-A6E6-29828DF89A99}"/>
          </ac:spMkLst>
        </pc:spChg>
        <pc:spChg chg="del mod ord">
          <ac:chgData name="David Schlund | EWI" userId="00272c2a-d16f-4eb8-86ba-c28bcace438c" providerId="ADAL" clId="{46E1544F-72D8-4254-8935-79928106F321}" dt="2021-04-27T07:38:06.635" v="18139"/>
          <ac:spMkLst>
            <pc:docMk/>
            <pc:sldMk cId="430598168" sldId="291"/>
            <ac:spMk id="3" creationId="{BEB91A5E-5844-4496-AD50-7675729B53EE}"/>
          </ac:spMkLst>
        </pc:spChg>
        <pc:spChg chg="del">
          <ac:chgData name="David Schlund | EWI" userId="00272c2a-d16f-4eb8-86ba-c28bcace438c" providerId="ADAL" clId="{46E1544F-72D8-4254-8935-79928106F321}" dt="2021-04-27T07:38:06.635" v="18139"/>
          <ac:spMkLst>
            <pc:docMk/>
            <pc:sldMk cId="430598168" sldId="291"/>
            <ac:spMk id="4" creationId="{FBB6F4D5-6A62-4AC9-8E66-04E9434FC678}"/>
          </ac:spMkLst>
        </pc:spChg>
        <pc:spChg chg="add mod ord">
          <ac:chgData name="David Schlund | EWI" userId="00272c2a-d16f-4eb8-86ba-c28bcace438c" providerId="ADAL" clId="{46E1544F-72D8-4254-8935-79928106F321}" dt="2021-04-27T11:31:23.630" v="20675" actId="948"/>
          <ac:spMkLst>
            <pc:docMk/>
            <pc:sldMk cId="430598168" sldId="291"/>
            <ac:spMk id="5" creationId="{68B29226-91B1-470A-BDE5-8C1185320BE6}"/>
          </ac:spMkLst>
        </pc:spChg>
        <pc:spChg chg="add del mod ord">
          <ac:chgData name="David Schlund | EWI" userId="00272c2a-d16f-4eb8-86ba-c28bcace438c" providerId="ADAL" clId="{46E1544F-72D8-4254-8935-79928106F321}" dt="2021-04-27T11:25:59.593" v="20291" actId="478"/>
          <ac:spMkLst>
            <pc:docMk/>
            <pc:sldMk cId="430598168" sldId="291"/>
            <ac:spMk id="6" creationId="{9372DCA5-005C-4E8C-A4A8-B227A507E30C}"/>
          </ac:spMkLst>
        </pc:spChg>
        <pc:spChg chg="add del mod modVis">
          <ac:chgData name="David Schlund | EWI" userId="00272c2a-d16f-4eb8-86ba-c28bcace438c" providerId="ADAL" clId="{46E1544F-72D8-4254-8935-79928106F321}" dt="2021-04-27T07:38:28.879" v="18225"/>
          <ac:spMkLst>
            <pc:docMk/>
            <pc:sldMk cId="430598168" sldId="291"/>
            <ac:spMk id="8" creationId="{1039932A-1CAD-44CA-AAD4-80D0EB886829}"/>
          </ac:spMkLst>
        </pc:spChg>
        <pc:spChg chg="add mod">
          <ac:chgData name="David Schlund | EWI" userId="00272c2a-d16f-4eb8-86ba-c28bcace438c" providerId="ADAL" clId="{46E1544F-72D8-4254-8935-79928106F321}" dt="2021-04-28T12:08:22.837" v="27969" actId="20577"/>
          <ac:spMkLst>
            <pc:docMk/>
            <pc:sldMk cId="430598168" sldId="291"/>
            <ac:spMk id="9" creationId="{8D28ADCA-F28E-4DFF-BBEF-1983C64D9201}"/>
          </ac:spMkLst>
        </pc:spChg>
        <pc:spChg chg="add mod">
          <ac:chgData name="David Schlund | EWI" userId="00272c2a-d16f-4eb8-86ba-c28bcace438c" providerId="ADAL" clId="{46E1544F-72D8-4254-8935-79928106F321}" dt="2021-04-27T11:31:23.144" v="20674" actId="790"/>
          <ac:spMkLst>
            <pc:docMk/>
            <pc:sldMk cId="430598168" sldId="291"/>
            <ac:spMk id="10" creationId="{7CCC38DE-7C18-4A45-ABDE-D032E2CF5782}"/>
          </ac:spMkLst>
        </pc:spChg>
        <pc:spChg chg="add mod">
          <ac:chgData name="David Schlund | EWI" userId="00272c2a-d16f-4eb8-86ba-c28bcace438c" providerId="ADAL" clId="{46E1544F-72D8-4254-8935-79928106F321}" dt="2021-04-27T14:54:30.438" v="24048" actId="948"/>
          <ac:spMkLst>
            <pc:docMk/>
            <pc:sldMk cId="430598168" sldId="291"/>
            <ac:spMk id="11" creationId="{F516DDB5-00F5-48D5-850B-4A3D693C7F93}"/>
          </ac:spMkLst>
        </pc:spChg>
        <pc:spChg chg="add mod">
          <ac:chgData name="David Schlund | EWI" userId="00272c2a-d16f-4eb8-86ba-c28bcace438c" providerId="ADAL" clId="{46E1544F-72D8-4254-8935-79928106F321}" dt="2021-04-27T11:31:23.144" v="20674" actId="790"/>
          <ac:spMkLst>
            <pc:docMk/>
            <pc:sldMk cId="430598168" sldId="291"/>
            <ac:spMk id="12" creationId="{CFCB241D-54E9-40B0-A815-1A0B842CEA49}"/>
          </ac:spMkLst>
        </pc:spChg>
        <pc:spChg chg="add del mod modVis">
          <ac:chgData name="David Schlund | EWI" userId="00272c2a-d16f-4eb8-86ba-c28bcace438c" providerId="ADAL" clId="{46E1544F-72D8-4254-8935-79928106F321}" dt="2021-04-27T11:31:23.677" v="20712"/>
          <ac:spMkLst>
            <pc:docMk/>
            <pc:sldMk cId="430598168" sldId="291"/>
            <ac:spMk id="13" creationId="{B2ED2CA3-7460-4F2E-9C6A-0096E2378677}"/>
          </ac:spMkLst>
        </pc:spChg>
        <pc:spChg chg="add del mod">
          <ac:chgData name="David Schlund | EWI" userId="00272c2a-d16f-4eb8-86ba-c28bcace438c" providerId="ADAL" clId="{46E1544F-72D8-4254-8935-79928106F321}" dt="2021-04-28T08:22:59.189" v="25186" actId="478"/>
          <ac:spMkLst>
            <pc:docMk/>
            <pc:sldMk cId="430598168" sldId="291"/>
            <ac:spMk id="14" creationId="{10FB5D34-1FCC-4DF8-A28C-08039B77661E}"/>
          </ac:spMkLst>
        </pc:spChg>
        <pc:graphicFrameChg chg="add mod ord modVis">
          <ac:chgData name="David Schlund | EWI" userId="00272c2a-d16f-4eb8-86ba-c28bcace438c" providerId="ADAL" clId="{46E1544F-72D8-4254-8935-79928106F321}" dt="2021-04-27T11:31:23.677" v="20714"/>
          <ac:graphicFrameMkLst>
            <pc:docMk/>
            <pc:sldMk cId="430598168" sldId="291"/>
            <ac:graphicFrameMk id="7" creationId="{7322E8FA-F107-4AFD-B2C3-152BE1D601B9}"/>
          </ac:graphicFrameMkLst>
        </pc:graphicFrameChg>
      </pc:sldChg>
      <pc:sldChg chg="new add del">
        <pc:chgData name="David Schlund | EWI" userId="00272c2a-d16f-4eb8-86ba-c28bcace438c" providerId="ADAL" clId="{46E1544F-72D8-4254-8935-79928106F321}" dt="2021-04-26T14:46:46.055" v="16130" actId="47"/>
        <pc:sldMkLst>
          <pc:docMk/>
          <pc:sldMk cId="3427766153" sldId="291"/>
        </pc:sldMkLst>
      </pc:sldChg>
      <pc:sldChg chg="addSp delSp modSp add del mod modAnim">
        <pc:chgData name="David Schlund | EWI" userId="00272c2a-d16f-4eb8-86ba-c28bcace438c" providerId="ADAL" clId="{46E1544F-72D8-4254-8935-79928106F321}" dt="2021-04-26T14:50:53.238" v="16347" actId="47"/>
        <pc:sldMkLst>
          <pc:docMk/>
          <pc:sldMk cId="1557146540" sldId="292"/>
        </pc:sldMkLst>
        <pc:spChg chg="mod ord">
          <ac:chgData name="David Schlund | EWI" userId="00272c2a-d16f-4eb8-86ba-c28bcace438c" providerId="ADAL" clId="{46E1544F-72D8-4254-8935-79928106F321}" dt="2021-04-26T14:49:23.243" v="16333"/>
          <ac:spMkLst>
            <pc:docMk/>
            <pc:sldMk cId="1557146540" sldId="292"/>
            <ac:spMk id="2" creationId="{0317863B-24CA-45B0-871D-01352D5B235A}"/>
          </ac:spMkLst>
        </pc:spChg>
        <pc:spChg chg="mod ord">
          <ac:chgData name="David Schlund | EWI" userId="00272c2a-d16f-4eb8-86ba-c28bcace438c" providerId="ADAL" clId="{46E1544F-72D8-4254-8935-79928106F321}" dt="2021-04-26T14:49:23.243" v="16333"/>
          <ac:spMkLst>
            <pc:docMk/>
            <pc:sldMk cId="1557146540" sldId="292"/>
            <ac:spMk id="6" creationId="{9CBFA281-9984-4D1D-9084-C4ECA40CB62B}"/>
          </ac:spMkLst>
        </pc:spChg>
        <pc:spChg chg="mod ord">
          <ac:chgData name="David Schlund | EWI" userId="00272c2a-d16f-4eb8-86ba-c28bcace438c" providerId="ADAL" clId="{46E1544F-72D8-4254-8935-79928106F321}" dt="2021-04-26T14:49:23.243" v="16333"/>
          <ac:spMkLst>
            <pc:docMk/>
            <pc:sldMk cId="1557146540" sldId="292"/>
            <ac:spMk id="34" creationId="{30585438-D2A7-43EC-A7DA-A5C085BBBAF0}"/>
          </ac:spMkLst>
        </pc:spChg>
        <pc:spChg chg="add del mod topLvl">
          <ac:chgData name="David Schlund | EWI" userId="00272c2a-d16f-4eb8-86ba-c28bcace438c" providerId="ADAL" clId="{46E1544F-72D8-4254-8935-79928106F321}" dt="2021-04-26T14:49:19.810" v="16305"/>
          <ac:spMkLst>
            <pc:docMk/>
            <pc:sldMk cId="1557146540" sldId="292"/>
            <ac:spMk id="63" creationId="{6A0ED6DD-8DA2-4598-ACC4-6C4C01BE7CB9}"/>
          </ac:spMkLst>
        </pc:spChg>
        <pc:spChg chg="mod">
          <ac:chgData name="David Schlund | EWI" userId="00272c2a-d16f-4eb8-86ba-c28bcace438c" providerId="ADAL" clId="{46E1544F-72D8-4254-8935-79928106F321}" dt="2021-04-26T14:49:18.826" v="16303" actId="165"/>
          <ac:spMkLst>
            <pc:docMk/>
            <pc:sldMk cId="1557146540" sldId="292"/>
            <ac:spMk id="68" creationId="{151EF22F-6546-46B2-A59A-CA777817E61A}"/>
          </ac:spMkLst>
        </pc:spChg>
        <pc:spChg chg="mod">
          <ac:chgData name="David Schlund | EWI" userId="00272c2a-d16f-4eb8-86ba-c28bcace438c" providerId="ADAL" clId="{46E1544F-72D8-4254-8935-79928106F321}" dt="2021-04-26T14:49:18.826" v="16303" actId="165"/>
          <ac:spMkLst>
            <pc:docMk/>
            <pc:sldMk cId="1557146540" sldId="292"/>
            <ac:spMk id="69" creationId="{6C4A136B-BC57-4DC9-A9CC-889265CE97A3}"/>
          </ac:spMkLst>
        </pc:spChg>
        <pc:spChg chg="mod ord">
          <ac:chgData name="David Schlund | EWI" userId="00272c2a-d16f-4eb8-86ba-c28bcace438c" providerId="ADAL" clId="{46E1544F-72D8-4254-8935-79928106F321}" dt="2021-04-26T14:50:18.325" v="16344" actId="164"/>
          <ac:spMkLst>
            <pc:docMk/>
            <pc:sldMk cId="1557146540" sldId="292"/>
            <ac:spMk id="71" creationId="{D494B446-DE34-4FE6-9C0F-34ACE317A8EA}"/>
          </ac:spMkLst>
        </pc:spChg>
        <pc:spChg chg="mod ord topLvl">
          <ac:chgData name="David Schlund | EWI" userId="00272c2a-d16f-4eb8-86ba-c28bcace438c" providerId="ADAL" clId="{46E1544F-72D8-4254-8935-79928106F321}" dt="2021-04-26T14:50:18.325" v="16344" actId="164"/>
          <ac:spMkLst>
            <pc:docMk/>
            <pc:sldMk cId="1557146540" sldId="292"/>
            <ac:spMk id="98" creationId="{C957BBF0-E923-4EA8-A9F6-BBA83C8BF78A}"/>
          </ac:spMkLst>
        </pc:spChg>
        <pc:spChg chg="add del mod topLvl">
          <ac:chgData name="David Schlund | EWI" userId="00272c2a-d16f-4eb8-86ba-c28bcace438c" providerId="ADAL" clId="{46E1544F-72D8-4254-8935-79928106F321}" dt="2021-04-26T14:49:19.810" v="16305"/>
          <ac:spMkLst>
            <pc:docMk/>
            <pc:sldMk cId="1557146540" sldId="292"/>
            <ac:spMk id="100" creationId="{318D2063-1FB1-4076-BA58-D3698D9B7E65}"/>
          </ac:spMkLst>
        </pc:spChg>
        <pc:spChg chg="mod">
          <ac:chgData name="David Schlund | EWI" userId="00272c2a-d16f-4eb8-86ba-c28bcace438c" providerId="ADAL" clId="{46E1544F-72D8-4254-8935-79928106F321}" dt="2021-04-26T14:49:18.399" v="16302" actId="165"/>
          <ac:spMkLst>
            <pc:docMk/>
            <pc:sldMk cId="1557146540" sldId="292"/>
            <ac:spMk id="105" creationId="{1E404B4B-0E40-415C-B81D-DA29B66AD9DA}"/>
          </ac:spMkLst>
        </pc:spChg>
        <pc:spChg chg="mod">
          <ac:chgData name="David Schlund | EWI" userId="00272c2a-d16f-4eb8-86ba-c28bcace438c" providerId="ADAL" clId="{46E1544F-72D8-4254-8935-79928106F321}" dt="2021-04-26T14:49:18.399" v="16302" actId="165"/>
          <ac:spMkLst>
            <pc:docMk/>
            <pc:sldMk cId="1557146540" sldId="292"/>
            <ac:spMk id="106" creationId="{8049DFF6-006D-4B5A-A866-6F820711E860}"/>
          </ac:spMkLst>
        </pc:spChg>
        <pc:spChg chg="mod ord topLvl">
          <ac:chgData name="David Schlund | EWI" userId="00272c2a-d16f-4eb8-86ba-c28bcace438c" providerId="ADAL" clId="{46E1544F-72D8-4254-8935-79928106F321}" dt="2021-04-26T14:50:18.325" v="16344" actId="164"/>
          <ac:spMkLst>
            <pc:docMk/>
            <pc:sldMk cId="1557146540" sldId="292"/>
            <ac:spMk id="108" creationId="{4CA67138-C0E5-4BA7-B41E-46B51A67647A}"/>
          </ac:spMkLst>
        </pc:spChg>
        <pc:spChg chg="add del mod topLvl">
          <ac:chgData name="David Schlund | EWI" userId="00272c2a-d16f-4eb8-86ba-c28bcace438c" providerId="ADAL" clId="{46E1544F-72D8-4254-8935-79928106F321}" dt="2021-04-26T14:49:19.810" v="16305"/>
          <ac:spMkLst>
            <pc:docMk/>
            <pc:sldMk cId="1557146540" sldId="292"/>
            <ac:spMk id="110" creationId="{D364250E-2260-4DB3-A0A6-9CDA31F4124A}"/>
          </ac:spMkLst>
        </pc:spChg>
        <pc:spChg chg="mod">
          <ac:chgData name="David Schlund | EWI" userId="00272c2a-d16f-4eb8-86ba-c28bcace438c" providerId="ADAL" clId="{46E1544F-72D8-4254-8935-79928106F321}" dt="2021-04-26T14:49:19.317" v="16304" actId="165"/>
          <ac:spMkLst>
            <pc:docMk/>
            <pc:sldMk cId="1557146540" sldId="292"/>
            <ac:spMk id="115" creationId="{CDCB2175-B35E-4B30-A913-708980EC5609}"/>
          </ac:spMkLst>
        </pc:spChg>
        <pc:spChg chg="mod">
          <ac:chgData name="David Schlund | EWI" userId="00272c2a-d16f-4eb8-86ba-c28bcace438c" providerId="ADAL" clId="{46E1544F-72D8-4254-8935-79928106F321}" dt="2021-04-26T14:49:19.317" v="16304" actId="165"/>
          <ac:spMkLst>
            <pc:docMk/>
            <pc:sldMk cId="1557146540" sldId="292"/>
            <ac:spMk id="116" creationId="{C279F90C-142E-4262-89D2-8D9A7A79B80E}"/>
          </ac:spMkLst>
        </pc:spChg>
        <pc:spChg chg="mod ord topLvl">
          <ac:chgData name="David Schlund | EWI" userId="00272c2a-d16f-4eb8-86ba-c28bcace438c" providerId="ADAL" clId="{46E1544F-72D8-4254-8935-79928106F321}" dt="2021-04-26T14:50:18.325" v="16344" actId="164"/>
          <ac:spMkLst>
            <pc:docMk/>
            <pc:sldMk cId="1557146540" sldId="292"/>
            <ac:spMk id="118" creationId="{0AFC70B0-1571-4C39-8B6D-B9993A83A4F7}"/>
          </ac:spMkLst>
        </pc:spChg>
        <pc:grpChg chg="add mod">
          <ac:chgData name="David Schlund | EWI" userId="00272c2a-d16f-4eb8-86ba-c28bcace438c" providerId="ADAL" clId="{46E1544F-72D8-4254-8935-79928106F321}" dt="2021-04-26T14:47:14.268" v="16132" actId="164"/>
          <ac:grpSpMkLst>
            <pc:docMk/>
            <pc:sldMk cId="1557146540" sldId="292"/>
            <ac:grpSpMk id="3" creationId="{B44697B2-E069-450C-9942-B84E02E2A4EA}"/>
          </ac:grpSpMkLst>
        </pc:grpChg>
        <pc:grpChg chg="add del mod">
          <ac:chgData name="David Schlund | EWI" userId="00272c2a-d16f-4eb8-86ba-c28bcace438c" providerId="ADAL" clId="{46E1544F-72D8-4254-8935-79928106F321}" dt="2021-04-26T14:49:17.172" v="16299" actId="165"/>
          <ac:grpSpMkLst>
            <pc:docMk/>
            <pc:sldMk cId="1557146540" sldId="292"/>
            <ac:grpSpMk id="4" creationId="{FB34049F-C374-4A75-89FA-F8E51C0A74F1}"/>
          </ac:grpSpMkLst>
        </pc:grpChg>
        <pc:grpChg chg="add mod">
          <ac:chgData name="David Schlund | EWI" userId="00272c2a-d16f-4eb8-86ba-c28bcace438c" providerId="ADAL" clId="{46E1544F-72D8-4254-8935-79928106F321}" dt="2021-04-26T14:50:18.325" v="16344" actId="164"/>
          <ac:grpSpMkLst>
            <pc:docMk/>
            <pc:sldMk cId="1557146540" sldId="292"/>
            <ac:grpSpMk id="5" creationId="{0F63103A-9D41-4B98-98F5-994D75B5EAB8}"/>
          </ac:grpSpMkLst>
        </pc:grpChg>
        <pc:grpChg chg="mod ord">
          <ac:chgData name="David Schlund | EWI" userId="00272c2a-d16f-4eb8-86ba-c28bcace438c" providerId="ADAL" clId="{46E1544F-72D8-4254-8935-79928106F321}" dt="2021-04-26T14:49:23.243" v="16333"/>
          <ac:grpSpMkLst>
            <pc:docMk/>
            <pc:sldMk cId="1557146540" sldId="292"/>
            <ac:grpSpMk id="25" creationId="{53922B24-8FE5-43E6-BCA1-92B113245AB5}"/>
          </ac:grpSpMkLst>
        </pc:grpChg>
        <pc:grpChg chg="mod ord">
          <ac:chgData name="David Schlund | EWI" userId="00272c2a-d16f-4eb8-86ba-c28bcace438c" providerId="ADAL" clId="{46E1544F-72D8-4254-8935-79928106F321}" dt="2021-04-26T14:49:23.243" v="16333"/>
          <ac:grpSpMkLst>
            <pc:docMk/>
            <pc:sldMk cId="1557146540" sldId="292"/>
            <ac:grpSpMk id="43" creationId="{2AABBE1B-1399-4F03-B43B-86FEB7079495}"/>
          </ac:grpSpMkLst>
        </pc:grpChg>
        <pc:grpChg chg="add del mod topLvl">
          <ac:chgData name="David Schlund | EWI" userId="00272c2a-d16f-4eb8-86ba-c28bcace438c" providerId="ADAL" clId="{46E1544F-72D8-4254-8935-79928106F321}" dt="2021-04-26T14:49:18.826" v="16303" actId="165"/>
          <ac:grpSpMkLst>
            <pc:docMk/>
            <pc:sldMk cId="1557146540" sldId="292"/>
            <ac:grpSpMk id="62" creationId="{1F3B635F-F688-4144-AE3F-33D8363686F5}"/>
          </ac:grpSpMkLst>
        </pc:grpChg>
        <pc:grpChg chg="mod ord topLvl">
          <ac:chgData name="David Schlund | EWI" userId="00272c2a-d16f-4eb8-86ba-c28bcace438c" providerId="ADAL" clId="{46E1544F-72D8-4254-8935-79928106F321}" dt="2021-04-26T14:49:23.243" v="16333"/>
          <ac:grpSpMkLst>
            <pc:docMk/>
            <pc:sldMk cId="1557146540" sldId="292"/>
            <ac:grpSpMk id="64" creationId="{85CFA2E7-07DF-4BE2-AE01-682653640012}"/>
          </ac:grpSpMkLst>
        </pc:grpChg>
        <pc:grpChg chg="mod ord">
          <ac:chgData name="David Schlund | EWI" userId="00272c2a-d16f-4eb8-86ba-c28bcace438c" providerId="ADAL" clId="{46E1544F-72D8-4254-8935-79928106F321}" dt="2021-04-26T14:49:23.243" v="16333"/>
          <ac:grpSpMkLst>
            <pc:docMk/>
            <pc:sldMk cId="1557146540" sldId="292"/>
            <ac:grpSpMk id="76" creationId="{16B0D3C0-6D1B-46E0-BCA9-36192D210915}"/>
          </ac:grpSpMkLst>
        </pc:grpChg>
        <pc:grpChg chg="add del mod topLvl">
          <ac:chgData name="David Schlund | EWI" userId="00272c2a-d16f-4eb8-86ba-c28bcace438c" providerId="ADAL" clId="{46E1544F-72D8-4254-8935-79928106F321}" dt="2021-04-26T14:49:18.399" v="16302" actId="165"/>
          <ac:grpSpMkLst>
            <pc:docMk/>
            <pc:sldMk cId="1557146540" sldId="292"/>
            <ac:grpSpMk id="99" creationId="{E02CF856-6AA3-4C5E-AEBB-94F73F181963}"/>
          </ac:grpSpMkLst>
        </pc:grpChg>
        <pc:grpChg chg="mod ord topLvl">
          <ac:chgData name="David Schlund | EWI" userId="00272c2a-d16f-4eb8-86ba-c28bcace438c" providerId="ADAL" clId="{46E1544F-72D8-4254-8935-79928106F321}" dt="2021-04-26T14:49:23.243" v="16333"/>
          <ac:grpSpMkLst>
            <pc:docMk/>
            <pc:sldMk cId="1557146540" sldId="292"/>
            <ac:grpSpMk id="101" creationId="{016A4DDC-7C68-4E7B-8D5C-F6C745152F51}"/>
          </ac:grpSpMkLst>
        </pc:grpChg>
        <pc:grpChg chg="add del mod topLvl">
          <ac:chgData name="David Schlund | EWI" userId="00272c2a-d16f-4eb8-86ba-c28bcace438c" providerId="ADAL" clId="{46E1544F-72D8-4254-8935-79928106F321}" dt="2021-04-26T14:49:19.317" v="16304" actId="165"/>
          <ac:grpSpMkLst>
            <pc:docMk/>
            <pc:sldMk cId="1557146540" sldId="292"/>
            <ac:grpSpMk id="109" creationId="{FBB44C45-3D94-48B9-BAD0-D598F110E299}"/>
          </ac:grpSpMkLst>
        </pc:grpChg>
        <pc:grpChg chg="mod ord topLvl">
          <ac:chgData name="David Schlund | EWI" userId="00272c2a-d16f-4eb8-86ba-c28bcace438c" providerId="ADAL" clId="{46E1544F-72D8-4254-8935-79928106F321}" dt="2021-04-26T14:49:23.243" v="16333"/>
          <ac:grpSpMkLst>
            <pc:docMk/>
            <pc:sldMk cId="1557146540" sldId="292"/>
            <ac:grpSpMk id="111" creationId="{1474D72A-00DD-4A99-AE1D-63EFC2758AC6}"/>
          </ac:grpSpMkLst>
        </pc:grpChg>
        <pc:grpChg chg="add del mod">
          <ac:chgData name="David Schlund | EWI" userId="00272c2a-d16f-4eb8-86ba-c28bcace438c" providerId="ADAL" clId="{46E1544F-72D8-4254-8935-79928106F321}" dt="2021-04-26T14:49:17.953" v="16301" actId="165"/>
          <ac:grpSpMkLst>
            <pc:docMk/>
            <pc:sldMk cId="1557146540" sldId="292"/>
            <ac:grpSpMk id="130" creationId="{14495D87-3EB5-428A-9FEE-C11BBFA95CF4}"/>
          </ac:grpSpMkLst>
        </pc:grpChg>
        <pc:grpChg chg="add del mod">
          <ac:chgData name="David Schlund | EWI" userId="00272c2a-d16f-4eb8-86ba-c28bcace438c" providerId="ADAL" clId="{46E1544F-72D8-4254-8935-79928106F321}" dt="2021-04-26T14:49:17.518" v="16300" actId="165"/>
          <ac:grpSpMkLst>
            <pc:docMk/>
            <pc:sldMk cId="1557146540" sldId="292"/>
            <ac:grpSpMk id="131" creationId="{6F035A29-95D2-450C-99B9-C300A16E1EDC}"/>
          </ac:grpSpMkLst>
        </pc:grpChg>
        <pc:grpChg chg="mod ord">
          <ac:chgData name="David Schlund | EWI" userId="00272c2a-d16f-4eb8-86ba-c28bcace438c" providerId="ADAL" clId="{46E1544F-72D8-4254-8935-79928106F321}" dt="2021-04-26T14:49:23.243" v="16333"/>
          <ac:grpSpMkLst>
            <pc:docMk/>
            <pc:sldMk cId="1557146540" sldId="292"/>
            <ac:grpSpMk id="139" creationId="{913DE9B7-B3BB-436E-A821-13E5AB81D9B9}"/>
          </ac:grpSpMkLst>
        </pc:grpChg>
        <pc:graphicFrameChg chg="mod ord">
          <ac:chgData name="David Schlund | EWI" userId="00272c2a-d16f-4eb8-86ba-c28bcace438c" providerId="ADAL" clId="{46E1544F-72D8-4254-8935-79928106F321}" dt="2021-04-26T14:49:23.253" v="16335"/>
          <ac:graphicFrameMkLst>
            <pc:docMk/>
            <pc:sldMk cId="1557146540" sldId="292"/>
            <ac:graphicFrameMk id="31" creationId="{0062B284-37BE-473F-9B6B-C74668EFC09B}"/>
          </ac:graphicFrameMkLst>
        </pc:graphicFrameChg>
        <pc:picChg chg="mod">
          <ac:chgData name="David Schlund | EWI" userId="00272c2a-d16f-4eb8-86ba-c28bcace438c" providerId="ADAL" clId="{46E1544F-72D8-4254-8935-79928106F321}" dt="2021-04-26T14:49:18.826" v="16303" actId="165"/>
          <ac:picMkLst>
            <pc:docMk/>
            <pc:sldMk cId="1557146540" sldId="292"/>
            <ac:picMk id="65" creationId="{90277EF7-8FB4-4425-AC5D-E7688249E6F9}"/>
          </ac:picMkLst>
        </pc:picChg>
        <pc:picChg chg="mod">
          <ac:chgData name="David Schlund | EWI" userId="00272c2a-d16f-4eb8-86ba-c28bcace438c" providerId="ADAL" clId="{46E1544F-72D8-4254-8935-79928106F321}" dt="2021-04-26T14:49:18.826" v="16303" actId="165"/>
          <ac:picMkLst>
            <pc:docMk/>
            <pc:sldMk cId="1557146540" sldId="292"/>
            <ac:picMk id="66" creationId="{398882EC-97A0-45AA-9219-7017C32855D8}"/>
          </ac:picMkLst>
        </pc:picChg>
        <pc:picChg chg="mod">
          <ac:chgData name="David Schlund | EWI" userId="00272c2a-d16f-4eb8-86ba-c28bcace438c" providerId="ADAL" clId="{46E1544F-72D8-4254-8935-79928106F321}" dt="2021-04-26T14:49:18.399" v="16302" actId="165"/>
          <ac:picMkLst>
            <pc:docMk/>
            <pc:sldMk cId="1557146540" sldId="292"/>
            <ac:picMk id="102" creationId="{F00D4484-2089-4FC3-8658-3EA7B6F1B071}"/>
          </ac:picMkLst>
        </pc:picChg>
        <pc:picChg chg="mod">
          <ac:chgData name="David Schlund | EWI" userId="00272c2a-d16f-4eb8-86ba-c28bcace438c" providerId="ADAL" clId="{46E1544F-72D8-4254-8935-79928106F321}" dt="2021-04-26T14:49:18.399" v="16302" actId="165"/>
          <ac:picMkLst>
            <pc:docMk/>
            <pc:sldMk cId="1557146540" sldId="292"/>
            <ac:picMk id="103" creationId="{F5BE04E0-30C7-4249-910A-B7550E8C3100}"/>
          </ac:picMkLst>
        </pc:picChg>
        <pc:picChg chg="mod">
          <ac:chgData name="David Schlund | EWI" userId="00272c2a-d16f-4eb8-86ba-c28bcace438c" providerId="ADAL" clId="{46E1544F-72D8-4254-8935-79928106F321}" dt="2021-04-26T14:49:19.317" v="16304" actId="165"/>
          <ac:picMkLst>
            <pc:docMk/>
            <pc:sldMk cId="1557146540" sldId="292"/>
            <ac:picMk id="112" creationId="{6B2FBAF7-DD1E-4C2D-A438-95A9ED890873}"/>
          </ac:picMkLst>
        </pc:picChg>
        <pc:picChg chg="mod">
          <ac:chgData name="David Schlund | EWI" userId="00272c2a-d16f-4eb8-86ba-c28bcace438c" providerId="ADAL" clId="{46E1544F-72D8-4254-8935-79928106F321}" dt="2021-04-26T14:49:19.317" v="16304" actId="165"/>
          <ac:picMkLst>
            <pc:docMk/>
            <pc:sldMk cId="1557146540" sldId="292"/>
            <ac:picMk id="113" creationId="{2EDDC432-355B-487F-93BD-C25C8ECECAAF}"/>
          </ac:picMkLst>
        </pc:picChg>
        <pc:cxnChg chg="mod ord">
          <ac:chgData name="David Schlund | EWI" userId="00272c2a-d16f-4eb8-86ba-c28bcace438c" providerId="ADAL" clId="{46E1544F-72D8-4254-8935-79928106F321}" dt="2021-04-26T14:49:23.243" v="16333"/>
          <ac:cxnSpMkLst>
            <pc:docMk/>
            <pc:sldMk cId="1557146540" sldId="292"/>
            <ac:cxnSpMk id="45" creationId="{C7124DA4-CE1A-40B5-BDCD-6D20D0E258E8}"/>
          </ac:cxnSpMkLst>
        </pc:cxnChg>
        <pc:cxnChg chg="mod">
          <ac:chgData name="David Schlund | EWI" userId="00272c2a-d16f-4eb8-86ba-c28bcace438c" providerId="ADAL" clId="{46E1544F-72D8-4254-8935-79928106F321}" dt="2021-04-26T14:49:18.826" v="16303" actId="165"/>
          <ac:cxnSpMkLst>
            <pc:docMk/>
            <pc:sldMk cId="1557146540" sldId="292"/>
            <ac:cxnSpMk id="67" creationId="{0065FB3C-8933-48CD-BDFF-A6FC0AEAF52D}"/>
          </ac:cxnSpMkLst>
        </pc:cxnChg>
        <pc:cxnChg chg="mod ord">
          <ac:chgData name="David Schlund | EWI" userId="00272c2a-d16f-4eb8-86ba-c28bcace438c" providerId="ADAL" clId="{46E1544F-72D8-4254-8935-79928106F321}" dt="2021-04-26T14:49:23.243" v="16333"/>
          <ac:cxnSpMkLst>
            <pc:docMk/>
            <pc:sldMk cId="1557146540" sldId="292"/>
            <ac:cxnSpMk id="79" creationId="{1FC623A4-543C-4FCD-AF80-0DFE9AE4757B}"/>
          </ac:cxnSpMkLst>
        </pc:cxnChg>
        <pc:cxnChg chg="mod ord">
          <ac:chgData name="David Schlund | EWI" userId="00272c2a-d16f-4eb8-86ba-c28bcace438c" providerId="ADAL" clId="{46E1544F-72D8-4254-8935-79928106F321}" dt="2021-04-26T14:49:23.243" v="16333"/>
          <ac:cxnSpMkLst>
            <pc:docMk/>
            <pc:sldMk cId="1557146540" sldId="292"/>
            <ac:cxnSpMk id="80" creationId="{8DAE1E90-919A-4327-AE70-86C010B67842}"/>
          </ac:cxnSpMkLst>
        </pc:cxnChg>
        <pc:cxnChg chg="mod ord">
          <ac:chgData name="David Schlund | EWI" userId="00272c2a-d16f-4eb8-86ba-c28bcace438c" providerId="ADAL" clId="{46E1544F-72D8-4254-8935-79928106F321}" dt="2021-04-26T14:49:23.243" v="16333"/>
          <ac:cxnSpMkLst>
            <pc:docMk/>
            <pc:sldMk cId="1557146540" sldId="292"/>
            <ac:cxnSpMk id="81" creationId="{64285182-E604-433A-9137-109B40946FA5}"/>
          </ac:cxnSpMkLst>
        </pc:cxnChg>
        <pc:cxnChg chg="mod ord">
          <ac:chgData name="David Schlund | EWI" userId="00272c2a-d16f-4eb8-86ba-c28bcace438c" providerId="ADAL" clId="{46E1544F-72D8-4254-8935-79928106F321}" dt="2021-04-26T14:50:18.325" v="16344" actId="164"/>
          <ac:cxnSpMkLst>
            <pc:docMk/>
            <pc:sldMk cId="1557146540" sldId="292"/>
            <ac:cxnSpMk id="87" creationId="{BC3020E5-98E3-4B03-B8FD-FB145B40DF05}"/>
          </ac:cxnSpMkLst>
        </pc:cxnChg>
        <pc:cxnChg chg="mod">
          <ac:chgData name="David Schlund | EWI" userId="00272c2a-d16f-4eb8-86ba-c28bcace438c" providerId="ADAL" clId="{46E1544F-72D8-4254-8935-79928106F321}" dt="2021-04-26T14:49:18.399" v="16302" actId="165"/>
          <ac:cxnSpMkLst>
            <pc:docMk/>
            <pc:sldMk cId="1557146540" sldId="292"/>
            <ac:cxnSpMk id="104" creationId="{53453E32-59C8-4B2E-AC66-FD099B076401}"/>
          </ac:cxnSpMkLst>
        </pc:cxnChg>
        <pc:cxnChg chg="mod ord">
          <ac:chgData name="David Schlund | EWI" userId="00272c2a-d16f-4eb8-86ba-c28bcace438c" providerId="ADAL" clId="{46E1544F-72D8-4254-8935-79928106F321}" dt="2021-04-26T14:50:18.325" v="16344" actId="164"/>
          <ac:cxnSpMkLst>
            <pc:docMk/>
            <pc:sldMk cId="1557146540" sldId="292"/>
            <ac:cxnSpMk id="107" creationId="{1B5A0239-4366-4055-BBD7-2AE181CC64E8}"/>
          </ac:cxnSpMkLst>
        </pc:cxnChg>
        <pc:cxnChg chg="mod">
          <ac:chgData name="David Schlund | EWI" userId="00272c2a-d16f-4eb8-86ba-c28bcace438c" providerId="ADAL" clId="{46E1544F-72D8-4254-8935-79928106F321}" dt="2021-04-26T14:49:19.317" v="16304" actId="165"/>
          <ac:cxnSpMkLst>
            <pc:docMk/>
            <pc:sldMk cId="1557146540" sldId="292"/>
            <ac:cxnSpMk id="114" creationId="{97A46782-513F-40EC-B706-AD35BB94D9EF}"/>
          </ac:cxnSpMkLst>
        </pc:cxnChg>
        <pc:cxnChg chg="mod ord">
          <ac:chgData name="David Schlund | EWI" userId="00272c2a-d16f-4eb8-86ba-c28bcace438c" providerId="ADAL" clId="{46E1544F-72D8-4254-8935-79928106F321}" dt="2021-04-26T14:50:18.325" v="16344" actId="164"/>
          <ac:cxnSpMkLst>
            <pc:docMk/>
            <pc:sldMk cId="1557146540" sldId="292"/>
            <ac:cxnSpMk id="117" creationId="{49057F48-6E60-4CAC-9CF4-8632AB694606}"/>
          </ac:cxnSpMkLst>
        </pc:cxnChg>
      </pc:sldChg>
      <pc:sldChg chg="addSp delSp modSp new add mod modAnim modNotesTx">
        <pc:chgData name="David Schlund | EWI" userId="00272c2a-d16f-4eb8-86ba-c28bcace438c" providerId="ADAL" clId="{46E1544F-72D8-4254-8935-79928106F321}" dt="2021-04-29T06:52:33.370" v="34444" actId="20577"/>
        <pc:sldMkLst>
          <pc:docMk/>
          <pc:sldMk cId="2952312592" sldId="292"/>
        </pc:sldMkLst>
        <pc:spChg chg="mod">
          <ac:chgData name="David Schlund | EWI" userId="00272c2a-d16f-4eb8-86ba-c28bcace438c" providerId="ADAL" clId="{46E1544F-72D8-4254-8935-79928106F321}" dt="2021-04-27T12:20:37.498" v="21584" actId="948"/>
          <ac:spMkLst>
            <pc:docMk/>
            <pc:sldMk cId="2952312592" sldId="292"/>
            <ac:spMk id="2" creationId="{C3E70636-D599-4B64-9836-1B2ACBAFAA34}"/>
          </ac:spMkLst>
        </pc:spChg>
        <pc:spChg chg="del">
          <ac:chgData name="David Schlund | EWI" userId="00272c2a-d16f-4eb8-86ba-c28bcace438c" providerId="ADAL" clId="{46E1544F-72D8-4254-8935-79928106F321}" dt="2021-04-27T09:10:21.367" v="18450"/>
          <ac:spMkLst>
            <pc:docMk/>
            <pc:sldMk cId="2952312592" sldId="292"/>
            <ac:spMk id="3" creationId="{CCB58FB4-EA3D-4C45-B441-3ABF04F79B6D}"/>
          </ac:spMkLst>
        </pc:spChg>
        <pc:spChg chg="mod">
          <ac:chgData name="David Schlund | EWI" userId="00272c2a-d16f-4eb8-86ba-c28bcace438c" providerId="ADAL" clId="{46E1544F-72D8-4254-8935-79928106F321}" dt="2021-04-27T14:53:19.594" v="24044" actId="1076"/>
          <ac:spMkLst>
            <pc:docMk/>
            <pc:sldMk cId="2952312592" sldId="292"/>
            <ac:spMk id="4" creationId="{9F1A73E7-22D5-4A3E-ACE0-155DB000BD4E}"/>
          </ac:spMkLst>
        </pc:spChg>
        <pc:spChg chg="add mod">
          <ac:chgData name="David Schlund | EWI" userId="00272c2a-d16f-4eb8-86ba-c28bcace438c" providerId="ADAL" clId="{46E1544F-72D8-4254-8935-79928106F321}" dt="2021-04-28T13:00:33.098" v="31898" actId="20577"/>
          <ac:spMkLst>
            <pc:docMk/>
            <pc:sldMk cId="2952312592" sldId="292"/>
            <ac:spMk id="8" creationId="{8AF271BC-BD67-422F-8B2A-284BF39C9708}"/>
          </ac:spMkLst>
        </pc:spChg>
        <pc:spChg chg="add mod">
          <ac:chgData name="David Schlund | EWI" userId="00272c2a-d16f-4eb8-86ba-c28bcace438c" providerId="ADAL" clId="{46E1544F-72D8-4254-8935-79928106F321}" dt="2021-04-27T12:20:36.997" v="21583" actId="790"/>
          <ac:spMkLst>
            <pc:docMk/>
            <pc:sldMk cId="2952312592" sldId="292"/>
            <ac:spMk id="9" creationId="{55CAD380-52E3-493C-B0DA-050B60FAF03A}"/>
          </ac:spMkLst>
        </pc:spChg>
        <pc:spChg chg="add del mod">
          <ac:chgData name="David Schlund | EWI" userId="00272c2a-d16f-4eb8-86ba-c28bcace438c" providerId="ADAL" clId="{46E1544F-72D8-4254-8935-79928106F321}" dt="2021-04-28T08:22:55.670" v="25185" actId="478"/>
          <ac:spMkLst>
            <pc:docMk/>
            <pc:sldMk cId="2952312592" sldId="292"/>
            <ac:spMk id="10" creationId="{DCEC1229-81E5-4934-AC35-7B66FB90AEF1}"/>
          </ac:spMkLst>
        </pc:spChg>
        <pc:spChg chg="add del mod">
          <ac:chgData name="David Schlund | EWI" userId="00272c2a-d16f-4eb8-86ba-c28bcace438c" providerId="ADAL" clId="{46E1544F-72D8-4254-8935-79928106F321}" dt="2021-04-28T08:22:43.733" v="25182" actId="478"/>
          <ac:spMkLst>
            <pc:docMk/>
            <pc:sldMk cId="2952312592" sldId="292"/>
            <ac:spMk id="12" creationId="{8585F567-629D-41AC-8645-FDEF0F09B3BA}"/>
          </ac:spMkLst>
        </pc:spChg>
        <pc:graphicFrameChg chg="add mod ord modVis">
          <ac:chgData name="David Schlund | EWI" userId="00272c2a-d16f-4eb8-86ba-c28bcace438c" providerId="ADAL" clId="{46E1544F-72D8-4254-8935-79928106F321}" dt="2021-04-27T12:20:37.498" v="21586"/>
          <ac:graphicFrameMkLst>
            <pc:docMk/>
            <pc:sldMk cId="2952312592" sldId="292"/>
            <ac:graphicFrameMk id="7" creationId="{91070609-77EF-4B11-B3A2-F952883F6FE5}"/>
          </ac:graphicFrameMkLst>
        </pc:graphicFrameChg>
        <pc:picChg chg="add mod">
          <ac:chgData name="David Schlund | EWI" userId="00272c2a-d16f-4eb8-86ba-c28bcace438c" providerId="ADAL" clId="{46E1544F-72D8-4254-8935-79928106F321}" dt="2021-04-27T14:53:17.555" v="24042" actId="1076"/>
          <ac:picMkLst>
            <pc:docMk/>
            <pc:sldMk cId="2952312592" sldId="292"/>
            <ac:picMk id="6" creationId="{0F5EFD61-273D-4751-9F7A-359F329B5AEE}"/>
          </ac:picMkLst>
        </pc:picChg>
        <pc:picChg chg="add mod">
          <ac:chgData name="David Schlund | EWI" userId="00272c2a-d16f-4eb8-86ba-c28bcace438c" providerId="ADAL" clId="{46E1544F-72D8-4254-8935-79928106F321}" dt="2021-04-27T14:53:15.883" v="24041" actId="1076"/>
          <ac:picMkLst>
            <pc:docMk/>
            <pc:sldMk cId="2952312592" sldId="292"/>
            <ac:picMk id="11" creationId="{0828D1D7-6EDD-4281-B5DA-B63A7B16612B}"/>
          </ac:picMkLst>
        </pc:picChg>
      </pc:sldChg>
      <pc:sldChg chg="new add del">
        <pc:chgData name="David Schlund | EWI" userId="00272c2a-d16f-4eb8-86ba-c28bcace438c" providerId="ADAL" clId="{46E1544F-72D8-4254-8935-79928106F321}" dt="2021-04-27T12:28:35.375" v="22469" actId="47"/>
        <pc:sldMkLst>
          <pc:docMk/>
          <pc:sldMk cId="50537159" sldId="293"/>
        </pc:sldMkLst>
      </pc:sldChg>
      <pc:sldChg chg="modSp add del mod">
        <pc:chgData name="David Schlund | EWI" userId="00272c2a-d16f-4eb8-86ba-c28bcace438c" providerId="ADAL" clId="{46E1544F-72D8-4254-8935-79928106F321}" dt="2021-04-27T11:19:01.353" v="20053" actId="47"/>
        <pc:sldMkLst>
          <pc:docMk/>
          <pc:sldMk cId="2942203314" sldId="293"/>
        </pc:sldMkLst>
        <pc:spChg chg="mod">
          <ac:chgData name="David Schlund | EWI" userId="00272c2a-d16f-4eb8-86ba-c28bcace438c" providerId="ADAL" clId="{46E1544F-72D8-4254-8935-79928106F321}" dt="2021-04-27T11:18:59.561" v="20052" actId="403"/>
          <ac:spMkLst>
            <pc:docMk/>
            <pc:sldMk cId="2942203314" sldId="293"/>
            <ac:spMk id="7" creationId="{1BF77EAB-12DF-45CD-8C01-25E0F58A58E8}"/>
          </ac:spMkLst>
        </pc:spChg>
      </pc:sldChg>
      <pc:sldChg chg="modSp add mod">
        <pc:chgData name="David Schlund | EWI" userId="00272c2a-d16f-4eb8-86ba-c28bcace438c" providerId="ADAL" clId="{46E1544F-72D8-4254-8935-79928106F321}" dt="2021-04-27T16:22:22.684" v="25051" actId="20577"/>
        <pc:sldMkLst>
          <pc:docMk/>
          <pc:sldMk cId="2157784711" sldId="294"/>
        </pc:sldMkLst>
        <pc:spChg chg="mod">
          <ac:chgData name="David Schlund | EWI" userId="00272c2a-d16f-4eb8-86ba-c28bcace438c" providerId="ADAL" clId="{46E1544F-72D8-4254-8935-79928106F321}" dt="2021-04-27T16:22:22.684" v="25051" actId="20577"/>
          <ac:spMkLst>
            <pc:docMk/>
            <pc:sldMk cId="2157784711" sldId="294"/>
            <ac:spMk id="7" creationId="{1BF77EAB-12DF-45CD-8C01-25E0F58A58E8}"/>
          </ac:spMkLst>
        </pc:spChg>
      </pc:sldChg>
      <pc:sldChg chg="addSp delSp modSp add del mod modAnim">
        <pc:chgData name="David Schlund | EWI" userId="00272c2a-d16f-4eb8-86ba-c28bcace438c" providerId="ADAL" clId="{46E1544F-72D8-4254-8935-79928106F321}" dt="2021-04-27T15:23:40.221" v="24303" actId="47"/>
        <pc:sldMkLst>
          <pc:docMk/>
          <pc:sldMk cId="1274946542" sldId="295"/>
        </pc:sldMkLst>
        <pc:spChg chg="mod topLvl">
          <ac:chgData name="David Schlund | EWI" userId="00272c2a-d16f-4eb8-86ba-c28bcace438c" providerId="ADAL" clId="{46E1544F-72D8-4254-8935-79928106F321}" dt="2021-04-27T15:23:07.814" v="24248" actId="164"/>
          <ac:spMkLst>
            <pc:docMk/>
            <pc:sldMk cId="1274946542" sldId="295"/>
            <ac:spMk id="63" creationId="{6A0ED6DD-8DA2-4598-ACC4-6C4C01BE7CB9}"/>
          </ac:spMkLst>
        </pc:spChg>
        <pc:spChg chg="mod">
          <ac:chgData name="David Schlund | EWI" userId="00272c2a-d16f-4eb8-86ba-c28bcace438c" providerId="ADAL" clId="{46E1544F-72D8-4254-8935-79928106F321}" dt="2021-04-27T15:20:48.357" v="24234" actId="165"/>
          <ac:spMkLst>
            <pc:docMk/>
            <pc:sldMk cId="1274946542" sldId="295"/>
            <ac:spMk id="68" creationId="{151EF22F-6546-46B2-A59A-CA777817E61A}"/>
          </ac:spMkLst>
        </pc:spChg>
        <pc:spChg chg="mod">
          <ac:chgData name="David Schlund | EWI" userId="00272c2a-d16f-4eb8-86ba-c28bcace438c" providerId="ADAL" clId="{46E1544F-72D8-4254-8935-79928106F321}" dt="2021-04-27T15:20:48.357" v="24234" actId="165"/>
          <ac:spMkLst>
            <pc:docMk/>
            <pc:sldMk cId="1274946542" sldId="295"/>
            <ac:spMk id="69" creationId="{6C4A136B-BC57-4DC9-A9CC-889265CE97A3}"/>
          </ac:spMkLst>
        </pc:spChg>
        <pc:spChg chg="mod topLvl">
          <ac:chgData name="David Schlund | EWI" userId="00272c2a-d16f-4eb8-86ba-c28bcace438c" providerId="ADAL" clId="{46E1544F-72D8-4254-8935-79928106F321}" dt="2021-04-27T15:23:07.814" v="24248" actId="164"/>
          <ac:spMkLst>
            <pc:docMk/>
            <pc:sldMk cId="1274946542" sldId="295"/>
            <ac:spMk id="98" creationId="{C957BBF0-E923-4EA8-A9F6-BBA83C8BF78A}"/>
          </ac:spMkLst>
        </pc:spChg>
        <pc:spChg chg="mod topLvl">
          <ac:chgData name="David Schlund | EWI" userId="00272c2a-d16f-4eb8-86ba-c28bcace438c" providerId="ADAL" clId="{46E1544F-72D8-4254-8935-79928106F321}" dt="2021-04-27T15:23:07.814" v="24248" actId="164"/>
          <ac:spMkLst>
            <pc:docMk/>
            <pc:sldMk cId="1274946542" sldId="295"/>
            <ac:spMk id="100" creationId="{318D2063-1FB1-4076-BA58-D3698D9B7E65}"/>
          </ac:spMkLst>
        </pc:spChg>
        <pc:spChg chg="mod">
          <ac:chgData name="David Schlund | EWI" userId="00272c2a-d16f-4eb8-86ba-c28bcace438c" providerId="ADAL" clId="{46E1544F-72D8-4254-8935-79928106F321}" dt="2021-04-27T15:20:51.020" v="24235" actId="165"/>
          <ac:spMkLst>
            <pc:docMk/>
            <pc:sldMk cId="1274946542" sldId="295"/>
            <ac:spMk id="105" creationId="{1E404B4B-0E40-415C-B81D-DA29B66AD9DA}"/>
          </ac:spMkLst>
        </pc:spChg>
        <pc:spChg chg="mod">
          <ac:chgData name="David Schlund | EWI" userId="00272c2a-d16f-4eb8-86ba-c28bcace438c" providerId="ADAL" clId="{46E1544F-72D8-4254-8935-79928106F321}" dt="2021-04-27T15:20:51.020" v="24235" actId="165"/>
          <ac:spMkLst>
            <pc:docMk/>
            <pc:sldMk cId="1274946542" sldId="295"/>
            <ac:spMk id="106" creationId="{8049DFF6-006D-4B5A-A866-6F820711E860}"/>
          </ac:spMkLst>
        </pc:spChg>
        <pc:spChg chg="mod topLvl">
          <ac:chgData name="David Schlund | EWI" userId="00272c2a-d16f-4eb8-86ba-c28bcace438c" providerId="ADAL" clId="{46E1544F-72D8-4254-8935-79928106F321}" dt="2021-04-27T15:23:07.814" v="24248" actId="164"/>
          <ac:spMkLst>
            <pc:docMk/>
            <pc:sldMk cId="1274946542" sldId="295"/>
            <ac:spMk id="108" creationId="{4CA67138-C0E5-4BA7-B41E-46B51A67647A}"/>
          </ac:spMkLst>
        </pc:spChg>
        <pc:spChg chg="mod topLvl">
          <ac:chgData name="David Schlund | EWI" userId="00272c2a-d16f-4eb8-86ba-c28bcace438c" providerId="ADAL" clId="{46E1544F-72D8-4254-8935-79928106F321}" dt="2021-04-27T15:23:07.814" v="24248" actId="164"/>
          <ac:spMkLst>
            <pc:docMk/>
            <pc:sldMk cId="1274946542" sldId="295"/>
            <ac:spMk id="110" creationId="{D364250E-2260-4DB3-A0A6-9CDA31F4124A}"/>
          </ac:spMkLst>
        </pc:spChg>
        <pc:spChg chg="mod">
          <ac:chgData name="David Schlund | EWI" userId="00272c2a-d16f-4eb8-86ba-c28bcace438c" providerId="ADAL" clId="{46E1544F-72D8-4254-8935-79928106F321}" dt="2021-04-27T15:20:53.622" v="24236" actId="165"/>
          <ac:spMkLst>
            <pc:docMk/>
            <pc:sldMk cId="1274946542" sldId="295"/>
            <ac:spMk id="115" creationId="{CDCB2175-B35E-4B30-A913-708980EC5609}"/>
          </ac:spMkLst>
        </pc:spChg>
        <pc:spChg chg="mod">
          <ac:chgData name="David Schlund | EWI" userId="00272c2a-d16f-4eb8-86ba-c28bcace438c" providerId="ADAL" clId="{46E1544F-72D8-4254-8935-79928106F321}" dt="2021-04-27T15:20:53.622" v="24236" actId="165"/>
          <ac:spMkLst>
            <pc:docMk/>
            <pc:sldMk cId="1274946542" sldId="295"/>
            <ac:spMk id="116" creationId="{C279F90C-142E-4262-89D2-8D9A7A79B80E}"/>
          </ac:spMkLst>
        </pc:spChg>
        <pc:spChg chg="mod topLvl">
          <ac:chgData name="David Schlund | EWI" userId="00272c2a-d16f-4eb8-86ba-c28bcace438c" providerId="ADAL" clId="{46E1544F-72D8-4254-8935-79928106F321}" dt="2021-04-27T15:23:07.814" v="24248" actId="164"/>
          <ac:spMkLst>
            <pc:docMk/>
            <pc:sldMk cId="1274946542" sldId="295"/>
            <ac:spMk id="118" creationId="{0AFC70B0-1571-4C39-8B6D-B9993A83A4F7}"/>
          </ac:spMkLst>
        </pc:spChg>
        <pc:grpChg chg="add del mod">
          <ac:chgData name="David Schlund | EWI" userId="00272c2a-d16f-4eb8-86ba-c28bcace438c" providerId="ADAL" clId="{46E1544F-72D8-4254-8935-79928106F321}" dt="2021-04-27T15:22:49.971" v="24247" actId="165"/>
          <ac:grpSpMkLst>
            <pc:docMk/>
            <pc:sldMk cId="1274946542" sldId="295"/>
            <ac:grpSpMk id="3" creationId="{32836285-DA8F-4EBE-85EA-E633C6AEC375}"/>
          </ac:grpSpMkLst>
        </pc:grpChg>
        <pc:grpChg chg="add mod">
          <ac:chgData name="David Schlund | EWI" userId="00272c2a-d16f-4eb8-86ba-c28bcace438c" providerId="ADAL" clId="{46E1544F-72D8-4254-8935-79928106F321}" dt="2021-04-27T15:23:07.814" v="24248" actId="164"/>
          <ac:grpSpMkLst>
            <pc:docMk/>
            <pc:sldMk cId="1274946542" sldId="295"/>
            <ac:grpSpMk id="4" creationId="{B887F396-77D7-43D1-B4C8-1E5368B8FCE8}"/>
          </ac:grpSpMkLst>
        </pc:grpChg>
        <pc:grpChg chg="del">
          <ac:chgData name="David Schlund | EWI" userId="00272c2a-d16f-4eb8-86ba-c28bcace438c" providerId="ADAL" clId="{46E1544F-72D8-4254-8935-79928106F321}" dt="2021-04-27T15:20:48.357" v="24234" actId="165"/>
          <ac:grpSpMkLst>
            <pc:docMk/>
            <pc:sldMk cId="1274946542" sldId="295"/>
            <ac:grpSpMk id="62" creationId="{1F3B635F-F688-4144-AE3F-33D8363686F5}"/>
          </ac:grpSpMkLst>
        </pc:grpChg>
        <pc:grpChg chg="mod topLvl">
          <ac:chgData name="David Schlund | EWI" userId="00272c2a-d16f-4eb8-86ba-c28bcace438c" providerId="ADAL" clId="{46E1544F-72D8-4254-8935-79928106F321}" dt="2021-04-27T15:20:48.357" v="24234" actId="165"/>
          <ac:grpSpMkLst>
            <pc:docMk/>
            <pc:sldMk cId="1274946542" sldId="295"/>
            <ac:grpSpMk id="64" creationId="{85CFA2E7-07DF-4BE2-AE01-682653640012}"/>
          </ac:grpSpMkLst>
        </pc:grpChg>
        <pc:grpChg chg="del mod topLvl">
          <ac:chgData name="David Schlund | EWI" userId="00272c2a-d16f-4eb8-86ba-c28bcace438c" providerId="ADAL" clId="{46E1544F-72D8-4254-8935-79928106F321}" dt="2021-04-27T15:20:51.020" v="24235" actId="165"/>
          <ac:grpSpMkLst>
            <pc:docMk/>
            <pc:sldMk cId="1274946542" sldId="295"/>
            <ac:grpSpMk id="99" creationId="{E02CF856-6AA3-4C5E-AEBB-94F73F181963}"/>
          </ac:grpSpMkLst>
        </pc:grpChg>
        <pc:grpChg chg="mod topLvl">
          <ac:chgData name="David Schlund | EWI" userId="00272c2a-d16f-4eb8-86ba-c28bcace438c" providerId="ADAL" clId="{46E1544F-72D8-4254-8935-79928106F321}" dt="2021-04-27T15:20:51.020" v="24235" actId="165"/>
          <ac:grpSpMkLst>
            <pc:docMk/>
            <pc:sldMk cId="1274946542" sldId="295"/>
            <ac:grpSpMk id="101" creationId="{016A4DDC-7C68-4E7B-8D5C-F6C745152F51}"/>
          </ac:grpSpMkLst>
        </pc:grpChg>
        <pc:grpChg chg="del mod topLvl">
          <ac:chgData name="David Schlund | EWI" userId="00272c2a-d16f-4eb8-86ba-c28bcace438c" providerId="ADAL" clId="{46E1544F-72D8-4254-8935-79928106F321}" dt="2021-04-27T15:20:53.622" v="24236" actId="165"/>
          <ac:grpSpMkLst>
            <pc:docMk/>
            <pc:sldMk cId="1274946542" sldId="295"/>
            <ac:grpSpMk id="109" creationId="{FBB44C45-3D94-48B9-BAD0-D598F110E299}"/>
          </ac:grpSpMkLst>
        </pc:grpChg>
        <pc:grpChg chg="mod topLvl">
          <ac:chgData name="David Schlund | EWI" userId="00272c2a-d16f-4eb8-86ba-c28bcace438c" providerId="ADAL" clId="{46E1544F-72D8-4254-8935-79928106F321}" dt="2021-04-27T15:20:53.622" v="24236" actId="165"/>
          <ac:grpSpMkLst>
            <pc:docMk/>
            <pc:sldMk cId="1274946542" sldId="295"/>
            <ac:grpSpMk id="111" creationId="{1474D72A-00DD-4A99-AE1D-63EFC2758AC6}"/>
          </ac:grpSpMkLst>
        </pc:grpChg>
        <pc:grpChg chg="del">
          <ac:chgData name="David Schlund | EWI" userId="00272c2a-d16f-4eb8-86ba-c28bcace438c" providerId="ADAL" clId="{46E1544F-72D8-4254-8935-79928106F321}" dt="2021-04-27T15:20:36.651" v="24232" actId="165"/>
          <ac:grpSpMkLst>
            <pc:docMk/>
            <pc:sldMk cId="1274946542" sldId="295"/>
            <ac:grpSpMk id="130" creationId="{14495D87-3EB5-428A-9FEE-C11BBFA95CF4}"/>
          </ac:grpSpMkLst>
        </pc:grpChg>
        <pc:grpChg chg="del">
          <ac:chgData name="David Schlund | EWI" userId="00272c2a-d16f-4eb8-86ba-c28bcace438c" providerId="ADAL" clId="{46E1544F-72D8-4254-8935-79928106F321}" dt="2021-04-27T15:20:39.926" v="24233" actId="165"/>
          <ac:grpSpMkLst>
            <pc:docMk/>
            <pc:sldMk cId="1274946542" sldId="295"/>
            <ac:grpSpMk id="131" creationId="{6F035A29-95D2-450C-99B9-C300A16E1EDC}"/>
          </ac:grpSpMkLst>
        </pc:grpChg>
        <pc:picChg chg="mod">
          <ac:chgData name="David Schlund | EWI" userId="00272c2a-d16f-4eb8-86ba-c28bcace438c" providerId="ADAL" clId="{46E1544F-72D8-4254-8935-79928106F321}" dt="2021-04-27T15:20:48.357" v="24234" actId="165"/>
          <ac:picMkLst>
            <pc:docMk/>
            <pc:sldMk cId="1274946542" sldId="295"/>
            <ac:picMk id="65" creationId="{90277EF7-8FB4-4425-AC5D-E7688249E6F9}"/>
          </ac:picMkLst>
        </pc:picChg>
        <pc:picChg chg="mod">
          <ac:chgData name="David Schlund | EWI" userId="00272c2a-d16f-4eb8-86ba-c28bcace438c" providerId="ADAL" clId="{46E1544F-72D8-4254-8935-79928106F321}" dt="2021-04-27T15:20:48.357" v="24234" actId="165"/>
          <ac:picMkLst>
            <pc:docMk/>
            <pc:sldMk cId="1274946542" sldId="295"/>
            <ac:picMk id="66" creationId="{398882EC-97A0-45AA-9219-7017C32855D8}"/>
          </ac:picMkLst>
        </pc:picChg>
        <pc:picChg chg="mod">
          <ac:chgData name="David Schlund | EWI" userId="00272c2a-d16f-4eb8-86ba-c28bcace438c" providerId="ADAL" clId="{46E1544F-72D8-4254-8935-79928106F321}" dt="2021-04-27T15:20:51.020" v="24235" actId="165"/>
          <ac:picMkLst>
            <pc:docMk/>
            <pc:sldMk cId="1274946542" sldId="295"/>
            <ac:picMk id="102" creationId="{F00D4484-2089-4FC3-8658-3EA7B6F1B071}"/>
          </ac:picMkLst>
        </pc:picChg>
        <pc:picChg chg="mod">
          <ac:chgData name="David Schlund | EWI" userId="00272c2a-d16f-4eb8-86ba-c28bcace438c" providerId="ADAL" clId="{46E1544F-72D8-4254-8935-79928106F321}" dt="2021-04-27T15:20:51.020" v="24235" actId="165"/>
          <ac:picMkLst>
            <pc:docMk/>
            <pc:sldMk cId="1274946542" sldId="295"/>
            <ac:picMk id="103" creationId="{F5BE04E0-30C7-4249-910A-B7550E8C3100}"/>
          </ac:picMkLst>
        </pc:picChg>
        <pc:picChg chg="mod">
          <ac:chgData name="David Schlund | EWI" userId="00272c2a-d16f-4eb8-86ba-c28bcace438c" providerId="ADAL" clId="{46E1544F-72D8-4254-8935-79928106F321}" dt="2021-04-27T15:20:53.622" v="24236" actId="165"/>
          <ac:picMkLst>
            <pc:docMk/>
            <pc:sldMk cId="1274946542" sldId="295"/>
            <ac:picMk id="112" creationId="{6B2FBAF7-DD1E-4C2D-A438-95A9ED890873}"/>
          </ac:picMkLst>
        </pc:picChg>
        <pc:picChg chg="mod">
          <ac:chgData name="David Schlund | EWI" userId="00272c2a-d16f-4eb8-86ba-c28bcace438c" providerId="ADAL" clId="{46E1544F-72D8-4254-8935-79928106F321}" dt="2021-04-27T15:20:53.622" v="24236" actId="165"/>
          <ac:picMkLst>
            <pc:docMk/>
            <pc:sldMk cId="1274946542" sldId="295"/>
            <ac:picMk id="113" creationId="{2EDDC432-355B-487F-93BD-C25C8ECECAAF}"/>
          </ac:picMkLst>
        </pc:picChg>
        <pc:cxnChg chg="mod">
          <ac:chgData name="David Schlund | EWI" userId="00272c2a-d16f-4eb8-86ba-c28bcace438c" providerId="ADAL" clId="{46E1544F-72D8-4254-8935-79928106F321}" dt="2021-04-27T15:20:48.357" v="24234" actId="165"/>
          <ac:cxnSpMkLst>
            <pc:docMk/>
            <pc:sldMk cId="1274946542" sldId="295"/>
            <ac:cxnSpMk id="67" creationId="{0065FB3C-8933-48CD-BDFF-A6FC0AEAF52D}"/>
          </ac:cxnSpMkLst>
        </pc:cxnChg>
        <pc:cxnChg chg="mod topLvl">
          <ac:chgData name="David Schlund | EWI" userId="00272c2a-d16f-4eb8-86ba-c28bcace438c" providerId="ADAL" clId="{46E1544F-72D8-4254-8935-79928106F321}" dt="2021-04-27T15:23:07.814" v="24248" actId="164"/>
          <ac:cxnSpMkLst>
            <pc:docMk/>
            <pc:sldMk cId="1274946542" sldId="295"/>
            <ac:cxnSpMk id="87" creationId="{BC3020E5-98E3-4B03-B8FD-FB145B40DF05}"/>
          </ac:cxnSpMkLst>
        </pc:cxnChg>
        <pc:cxnChg chg="mod">
          <ac:chgData name="David Schlund | EWI" userId="00272c2a-d16f-4eb8-86ba-c28bcace438c" providerId="ADAL" clId="{46E1544F-72D8-4254-8935-79928106F321}" dt="2021-04-27T15:20:51.020" v="24235" actId="165"/>
          <ac:cxnSpMkLst>
            <pc:docMk/>
            <pc:sldMk cId="1274946542" sldId="295"/>
            <ac:cxnSpMk id="104" creationId="{53453E32-59C8-4B2E-AC66-FD099B076401}"/>
          </ac:cxnSpMkLst>
        </pc:cxnChg>
        <pc:cxnChg chg="mod topLvl">
          <ac:chgData name="David Schlund | EWI" userId="00272c2a-d16f-4eb8-86ba-c28bcace438c" providerId="ADAL" clId="{46E1544F-72D8-4254-8935-79928106F321}" dt="2021-04-27T15:23:07.814" v="24248" actId="164"/>
          <ac:cxnSpMkLst>
            <pc:docMk/>
            <pc:sldMk cId="1274946542" sldId="295"/>
            <ac:cxnSpMk id="107" creationId="{1B5A0239-4366-4055-BBD7-2AE181CC64E8}"/>
          </ac:cxnSpMkLst>
        </pc:cxnChg>
        <pc:cxnChg chg="mod">
          <ac:chgData name="David Schlund | EWI" userId="00272c2a-d16f-4eb8-86ba-c28bcace438c" providerId="ADAL" clId="{46E1544F-72D8-4254-8935-79928106F321}" dt="2021-04-27T15:20:53.622" v="24236" actId="165"/>
          <ac:cxnSpMkLst>
            <pc:docMk/>
            <pc:sldMk cId="1274946542" sldId="295"/>
            <ac:cxnSpMk id="114" creationId="{97A46782-513F-40EC-B706-AD35BB94D9EF}"/>
          </ac:cxnSpMkLst>
        </pc:cxnChg>
        <pc:cxnChg chg="mod topLvl">
          <ac:chgData name="David Schlund | EWI" userId="00272c2a-d16f-4eb8-86ba-c28bcace438c" providerId="ADAL" clId="{46E1544F-72D8-4254-8935-79928106F321}" dt="2021-04-27T15:23:07.814" v="24248" actId="164"/>
          <ac:cxnSpMkLst>
            <pc:docMk/>
            <pc:sldMk cId="1274946542" sldId="295"/>
            <ac:cxnSpMk id="117" creationId="{49057F48-6E60-4CAC-9CF4-8632AB694606}"/>
          </ac:cxnSpMkLst>
        </pc:cxnChg>
      </pc:sldChg>
      <pc:sldChg chg="modSp mod">
        <pc:chgData name="David Schlund | EWI" userId="00272c2a-d16f-4eb8-86ba-c28bcace438c" providerId="ADAL" clId="{46E1544F-72D8-4254-8935-79928106F321}" dt="2021-04-28T15:42:10.706" v="33825" actId="115"/>
        <pc:sldMkLst>
          <pc:docMk/>
          <pc:sldMk cId="2679268901" sldId="297"/>
        </pc:sldMkLst>
        <pc:spChg chg="mod">
          <ac:chgData name="David Schlund | EWI" userId="00272c2a-d16f-4eb8-86ba-c28bcace438c" providerId="ADAL" clId="{46E1544F-72D8-4254-8935-79928106F321}" dt="2021-04-28T15:42:10.706" v="33825" actId="115"/>
          <ac:spMkLst>
            <pc:docMk/>
            <pc:sldMk cId="2679268901" sldId="297"/>
            <ac:spMk id="3" creationId="{88B41C6A-604C-4E71-B0C5-3635287E4839}"/>
          </ac:spMkLst>
        </pc:spChg>
      </pc:sldChg>
      <pc:sldChg chg="modSp mod">
        <pc:chgData name="David Schlund | EWI" userId="00272c2a-d16f-4eb8-86ba-c28bcace438c" providerId="ADAL" clId="{46E1544F-72D8-4254-8935-79928106F321}" dt="2021-04-28T15:35:06.280" v="32428" actId="1076"/>
        <pc:sldMkLst>
          <pc:docMk/>
          <pc:sldMk cId="968799664" sldId="298"/>
        </pc:sldMkLst>
        <pc:spChg chg="mod">
          <ac:chgData name="David Schlund | EWI" userId="00272c2a-d16f-4eb8-86ba-c28bcace438c" providerId="ADAL" clId="{46E1544F-72D8-4254-8935-79928106F321}" dt="2021-04-28T15:35:06.280" v="32428" actId="1076"/>
          <ac:spMkLst>
            <pc:docMk/>
            <pc:sldMk cId="968799664" sldId="298"/>
            <ac:spMk id="3" creationId="{88B41C6A-604C-4E71-B0C5-3635287E4839}"/>
          </ac:spMkLst>
        </pc:spChg>
      </pc:sldChg>
      <pc:sldChg chg="addSp delSp modSp new add mod">
        <pc:chgData name="David Schlund | EWI" userId="00272c2a-d16f-4eb8-86ba-c28bcace438c" providerId="ADAL" clId="{46E1544F-72D8-4254-8935-79928106F321}" dt="2021-04-29T06:44:49.007" v="34110" actId="1076"/>
        <pc:sldMkLst>
          <pc:docMk/>
          <pc:sldMk cId="2094924365" sldId="299"/>
        </pc:sldMkLst>
        <pc:spChg chg="mod">
          <ac:chgData name="David Schlund | EWI" userId="00272c2a-d16f-4eb8-86ba-c28bcace438c" providerId="ADAL" clId="{46E1544F-72D8-4254-8935-79928106F321}" dt="2021-04-29T06:43:24.016" v="34044" actId="948"/>
          <ac:spMkLst>
            <pc:docMk/>
            <pc:sldMk cId="2094924365" sldId="299"/>
            <ac:spMk id="2" creationId="{727E3DC1-9C79-4201-91AA-729EBA182837}"/>
          </ac:spMkLst>
        </pc:spChg>
        <pc:spChg chg="del">
          <ac:chgData name="David Schlund | EWI" userId="00272c2a-d16f-4eb8-86ba-c28bcace438c" providerId="ADAL" clId="{46E1544F-72D8-4254-8935-79928106F321}" dt="2021-04-29T06:43:25.155" v="34060"/>
          <ac:spMkLst>
            <pc:docMk/>
            <pc:sldMk cId="2094924365" sldId="299"/>
            <ac:spMk id="3" creationId="{C091E8F4-3EA4-4C0B-B25F-1CA72A10A0FF}"/>
          </ac:spMkLst>
        </pc:spChg>
        <pc:spChg chg="del">
          <ac:chgData name="David Schlund | EWI" userId="00272c2a-d16f-4eb8-86ba-c28bcace438c" providerId="ADAL" clId="{46E1544F-72D8-4254-8935-79928106F321}" dt="2021-04-29T06:43:25.155" v="34060"/>
          <ac:spMkLst>
            <pc:docMk/>
            <pc:sldMk cId="2094924365" sldId="299"/>
            <ac:spMk id="4" creationId="{91097D71-8DBB-40C6-AEB1-661FE43ED891}"/>
          </ac:spMkLst>
        </pc:spChg>
        <pc:spChg chg="add del mod">
          <ac:chgData name="David Schlund | EWI" userId="00272c2a-d16f-4eb8-86ba-c28bcace438c" providerId="ADAL" clId="{46E1544F-72D8-4254-8935-79928106F321}" dt="2021-04-29T06:44:05.523" v="34088" actId="478"/>
          <ac:spMkLst>
            <pc:docMk/>
            <pc:sldMk cId="2094924365" sldId="299"/>
            <ac:spMk id="15" creationId="{643B8DED-FE91-4EE8-AFE9-E4E5F53C0DAB}"/>
          </ac:spMkLst>
        </pc:spChg>
        <pc:spChg chg="add del mod">
          <ac:chgData name="David Schlund | EWI" userId="00272c2a-d16f-4eb8-86ba-c28bcace438c" providerId="ADAL" clId="{46E1544F-72D8-4254-8935-79928106F321}" dt="2021-04-29T06:44:09.319" v="34090" actId="478"/>
          <ac:spMkLst>
            <pc:docMk/>
            <pc:sldMk cId="2094924365" sldId="299"/>
            <ac:spMk id="17" creationId="{6E643F6B-651F-40CB-BA8E-A827782CCE9D}"/>
          </ac:spMkLst>
        </pc:spChg>
        <pc:graphicFrameChg chg="add mod ord modVis">
          <ac:chgData name="David Schlund | EWI" userId="00272c2a-d16f-4eb8-86ba-c28bcace438c" providerId="ADAL" clId="{46E1544F-72D8-4254-8935-79928106F321}" dt="2021-04-29T06:43:24.069" v="34059"/>
          <ac:graphicFrameMkLst>
            <pc:docMk/>
            <pc:sldMk cId="2094924365" sldId="299"/>
            <ac:graphicFrameMk id="5" creationId="{64EA3C1C-8DC1-4DDC-9C27-6ABB159EA327}"/>
          </ac:graphicFrameMkLst>
        </pc:graphicFrameChg>
        <pc:picChg chg="add del mod">
          <ac:chgData name="David Schlund | EWI" userId="00272c2a-d16f-4eb8-86ba-c28bcace438c" providerId="ADAL" clId="{46E1544F-72D8-4254-8935-79928106F321}" dt="2021-04-29T06:44:02.723" v="34085" actId="478"/>
          <ac:picMkLst>
            <pc:docMk/>
            <pc:sldMk cId="2094924365" sldId="299"/>
            <ac:picMk id="7" creationId="{9B00B58C-E129-4D46-86B0-4203E78FF3B6}"/>
          </ac:picMkLst>
        </pc:picChg>
        <pc:picChg chg="add del mod">
          <ac:chgData name="David Schlund | EWI" userId="00272c2a-d16f-4eb8-86ba-c28bcace438c" providerId="ADAL" clId="{46E1544F-72D8-4254-8935-79928106F321}" dt="2021-04-29T06:44:06.002" v="34089" actId="478"/>
          <ac:picMkLst>
            <pc:docMk/>
            <pc:sldMk cId="2094924365" sldId="299"/>
            <ac:picMk id="9" creationId="{3AC137B0-4597-490C-AB01-A7D0CDA295B5}"/>
          </ac:picMkLst>
        </pc:picChg>
        <pc:picChg chg="add del mod">
          <ac:chgData name="David Schlund | EWI" userId="00272c2a-d16f-4eb8-86ba-c28bcace438c" providerId="ADAL" clId="{46E1544F-72D8-4254-8935-79928106F321}" dt="2021-04-29T06:44:03.911" v="34087" actId="478"/>
          <ac:picMkLst>
            <pc:docMk/>
            <pc:sldMk cId="2094924365" sldId="299"/>
            <ac:picMk id="11" creationId="{7431C8B3-4CFD-4B44-86F5-8100D49F904F}"/>
          </ac:picMkLst>
        </pc:picChg>
        <pc:picChg chg="add del mod modCrop">
          <ac:chgData name="David Schlund | EWI" userId="00272c2a-d16f-4eb8-86ba-c28bcace438c" providerId="ADAL" clId="{46E1544F-72D8-4254-8935-79928106F321}" dt="2021-04-29T06:44:02.209" v="34084" actId="478"/>
          <ac:picMkLst>
            <pc:docMk/>
            <pc:sldMk cId="2094924365" sldId="299"/>
            <ac:picMk id="13" creationId="{83E21F86-71BE-45C8-8FC4-834D4D7616F1}"/>
          </ac:picMkLst>
        </pc:picChg>
        <pc:picChg chg="add mod">
          <ac:chgData name="David Schlund | EWI" userId="00272c2a-d16f-4eb8-86ba-c28bcace438c" providerId="ADAL" clId="{46E1544F-72D8-4254-8935-79928106F321}" dt="2021-04-29T06:44:45.992" v="34109" actId="1076"/>
          <ac:picMkLst>
            <pc:docMk/>
            <pc:sldMk cId="2094924365" sldId="299"/>
            <ac:picMk id="19" creationId="{FE19A0BF-0E2F-442B-A932-02B3D02A0504}"/>
          </ac:picMkLst>
        </pc:picChg>
        <pc:picChg chg="add mod">
          <ac:chgData name="David Schlund | EWI" userId="00272c2a-d16f-4eb8-86ba-c28bcace438c" providerId="ADAL" clId="{46E1544F-72D8-4254-8935-79928106F321}" dt="2021-04-29T06:44:43.496" v="34107" actId="1076"/>
          <ac:picMkLst>
            <pc:docMk/>
            <pc:sldMk cId="2094924365" sldId="299"/>
            <ac:picMk id="21" creationId="{7AA1ECCF-826B-489F-8F79-854E1101F6CA}"/>
          </ac:picMkLst>
        </pc:picChg>
        <pc:picChg chg="add mod">
          <ac:chgData name="David Schlund | EWI" userId="00272c2a-d16f-4eb8-86ba-c28bcace438c" providerId="ADAL" clId="{46E1544F-72D8-4254-8935-79928106F321}" dt="2021-04-29T06:44:49.007" v="34110" actId="1076"/>
          <ac:picMkLst>
            <pc:docMk/>
            <pc:sldMk cId="2094924365" sldId="299"/>
            <ac:picMk id="23" creationId="{7A1C2AF6-2030-4BF2-BCEC-AC8FDA215C82}"/>
          </ac:picMkLst>
        </pc:picChg>
        <pc:picChg chg="add mod">
          <ac:chgData name="David Schlund | EWI" userId="00272c2a-d16f-4eb8-86ba-c28bcace438c" providerId="ADAL" clId="{46E1544F-72D8-4254-8935-79928106F321}" dt="2021-04-29T06:44:44.712" v="34108" actId="1076"/>
          <ac:picMkLst>
            <pc:docMk/>
            <pc:sldMk cId="2094924365" sldId="299"/>
            <ac:picMk id="25" creationId="{EF04D253-F11B-4855-AD3C-224433C0A2B8}"/>
          </ac:picMkLst>
        </pc:picChg>
      </pc:sldChg>
      <pc:sldChg chg="addSp delSp modSp new add mod modClrScheme chgLayout">
        <pc:chgData name="David Schlund | EWI" userId="00272c2a-d16f-4eb8-86ba-c28bcace438c" providerId="ADAL" clId="{46E1544F-72D8-4254-8935-79928106F321}" dt="2021-04-29T07:27:55.063" v="34632" actId="113"/>
        <pc:sldMkLst>
          <pc:docMk/>
          <pc:sldMk cId="2060061955" sldId="303"/>
        </pc:sldMkLst>
        <pc:spChg chg="del mod ord">
          <ac:chgData name="David Schlund | EWI" userId="00272c2a-d16f-4eb8-86ba-c28bcace438c" providerId="ADAL" clId="{46E1544F-72D8-4254-8935-79928106F321}" dt="2021-04-29T07:26:04.689" v="34448"/>
          <ac:spMkLst>
            <pc:docMk/>
            <pc:sldMk cId="2060061955" sldId="303"/>
            <ac:spMk id="2" creationId="{F726BA28-1922-4B0C-BB78-E29011AE12B9}"/>
          </ac:spMkLst>
        </pc:spChg>
        <pc:spChg chg="del mod ord">
          <ac:chgData name="David Schlund | EWI" userId="00272c2a-d16f-4eb8-86ba-c28bcace438c" providerId="ADAL" clId="{46E1544F-72D8-4254-8935-79928106F321}" dt="2021-04-29T07:26:04.689" v="34448"/>
          <ac:spMkLst>
            <pc:docMk/>
            <pc:sldMk cId="2060061955" sldId="303"/>
            <ac:spMk id="3" creationId="{C38AE48B-67B5-4D50-BF68-393D74EFAB73}"/>
          </ac:spMkLst>
        </pc:spChg>
        <pc:spChg chg="del">
          <ac:chgData name="David Schlund | EWI" userId="00272c2a-d16f-4eb8-86ba-c28bcace438c" providerId="ADAL" clId="{46E1544F-72D8-4254-8935-79928106F321}" dt="2021-04-29T07:26:04.689" v="34448"/>
          <ac:spMkLst>
            <pc:docMk/>
            <pc:sldMk cId="2060061955" sldId="303"/>
            <ac:spMk id="4" creationId="{AD536FA9-790F-4882-8DE3-6EEBD13D164D}"/>
          </ac:spMkLst>
        </pc:spChg>
        <pc:spChg chg="add mod ord">
          <ac:chgData name="David Schlund | EWI" userId="00272c2a-d16f-4eb8-86ba-c28bcace438c" providerId="ADAL" clId="{46E1544F-72D8-4254-8935-79928106F321}" dt="2021-04-29T07:27:07.959" v="34546" actId="948"/>
          <ac:spMkLst>
            <pc:docMk/>
            <pc:sldMk cId="2060061955" sldId="303"/>
            <ac:spMk id="5" creationId="{EB42D1ED-ED82-443D-AF75-56C6572E18F7}"/>
          </ac:spMkLst>
        </pc:spChg>
        <pc:spChg chg="add mod ord">
          <ac:chgData name="David Schlund | EWI" userId="00272c2a-d16f-4eb8-86ba-c28bcace438c" providerId="ADAL" clId="{46E1544F-72D8-4254-8935-79928106F321}" dt="2021-04-29T07:27:55.063" v="34632" actId="113"/>
          <ac:spMkLst>
            <pc:docMk/>
            <pc:sldMk cId="2060061955" sldId="303"/>
            <ac:spMk id="6" creationId="{F482A610-DB5C-4CD9-B91E-C78C65ED8029}"/>
          </ac:spMkLst>
        </pc:spChg>
        <pc:spChg chg="add del mod modVis">
          <ac:chgData name="David Schlund | EWI" userId="00272c2a-d16f-4eb8-86ba-c28bcace438c" providerId="ADAL" clId="{46E1544F-72D8-4254-8935-79928106F321}" dt="2021-04-29T07:26:24.769" v="34533"/>
          <ac:spMkLst>
            <pc:docMk/>
            <pc:sldMk cId="2060061955" sldId="303"/>
            <ac:spMk id="8" creationId="{96F8D27E-3A55-4127-8F71-2EDC9C2178D5}"/>
          </ac:spMkLst>
        </pc:spChg>
        <pc:spChg chg="add del mod modVis">
          <ac:chgData name="David Schlund | EWI" userId="00272c2a-d16f-4eb8-86ba-c28bcace438c" providerId="ADAL" clId="{46E1544F-72D8-4254-8935-79928106F321}" dt="2021-04-29T07:27:07.996" v="34583"/>
          <ac:spMkLst>
            <pc:docMk/>
            <pc:sldMk cId="2060061955" sldId="303"/>
            <ac:spMk id="9" creationId="{C5F5103F-9FEE-488C-AB15-1853E0CFE6CF}"/>
          </ac:spMkLst>
        </pc:spChg>
        <pc:graphicFrameChg chg="add mod ord modVis">
          <ac:chgData name="David Schlund | EWI" userId="00272c2a-d16f-4eb8-86ba-c28bcace438c" providerId="ADAL" clId="{46E1544F-72D8-4254-8935-79928106F321}" dt="2021-04-29T07:27:08.002" v="34585"/>
          <ac:graphicFrameMkLst>
            <pc:docMk/>
            <pc:sldMk cId="2060061955" sldId="303"/>
            <ac:graphicFrameMk id="7" creationId="{2DCED11E-F16B-47D0-A6A2-38B0991035C4}"/>
          </ac:graphicFrameMkLst>
        </pc:graphicFrameChg>
      </pc:sldChg>
      <pc:sldChg chg="addSp delSp modSp new add mod modClrScheme chgLayout">
        <pc:chgData name="David Schlund | EWI" userId="00272c2a-d16f-4eb8-86ba-c28bcace438c" providerId="ADAL" clId="{46E1544F-72D8-4254-8935-79928106F321}" dt="2021-04-29T07:52:39.997" v="35585" actId="20577"/>
        <pc:sldMkLst>
          <pc:docMk/>
          <pc:sldMk cId="687993788" sldId="306"/>
        </pc:sldMkLst>
        <pc:spChg chg="del mod ord">
          <ac:chgData name="David Schlund | EWI" userId="00272c2a-d16f-4eb8-86ba-c28bcace438c" providerId="ADAL" clId="{46E1544F-72D8-4254-8935-79928106F321}" dt="2021-04-29T07:41:57.401" v="34638"/>
          <ac:spMkLst>
            <pc:docMk/>
            <pc:sldMk cId="687993788" sldId="306"/>
            <ac:spMk id="2" creationId="{702F392E-5CD0-48E9-BC17-C91508A6AB90}"/>
          </ac:spMkLst>
        </pc:spChg>
        <pc:spChg chg="del mod ord">
          <ac:chgData name="David Schlund | EWI" userId="00272c2a-d16f-4eb8-86ba-c28bcace438c" providerId="ADAL" clId="{46E1544F-72D8-4254-8935-79928106F321}" dt="2021-04-29T07:41:57.401" v="34638"/>
          <ac:spMkLst>
            <pc:docMk/>
            <pc:sldMk cId="687993788" sldId="306"/>
            <ac:spMk id="3" creationId="{9642D71C-F8E2-4AB8-AB4E-F18771F47C0B}"/>
          </ac:spMkLst>
        </pc:spChg>
        <pc:spChg chg="del">
          <ac:chgData name="David Schlund | EWI" userId="00272c2a-d16f-4eb8-86ba-c28bcace438c" providerId="ADAL" clId="{46E1544F-72D8-4254-8935-79928106F321}" dt="2021-04-29T07:41:57.401" v="34638"/>
          <ac:spMkLst>
            <pc:docMk/>
            <pc:sldMk cId="687993788" sldId="306"/>
            <ac:spMk id="4" creationId="{924E0FA7-58BD-4533-A982-FBA644953E2E}"/>
          </ac:spMkLst>
        </pc:spChg>
        <pc:spChg chg="add mod ord">
          <ac:chgData name="David Schlund | EWI" userId="00272c2a-d16f-4eb8-86ba-c28bcace438c" providerId="ADAL" clId="{46E1544F-72D8-4254-8935-79928106F321}" dt="2021-04-29T07:42:13.317" v="34844" actId="948"/>
          <ac:spMkLst>
            <pc:docMk/>
            <pc:sldMk cId="687993788" sldId="306"/>
            <ac:spMk id="5" creationId="{6A943F3D-592B-4FDA-AE53-8570D3182D6B}"/>
          </ac:spMkLst>
        </pc:spChg>
        <pc:spChg chg="add mod ord">
          <ac:chgData name="David Schlund | EWI" userId="00272c2a-d16f-4eb8-86ba-c28bcace438c" providerId="ADAL" clId="{46E1544F-72D8-4254-8935-79928106F321}" dt="2021-04-29T07:52:39.997" v="35585" actId="20577"/>
          <ac:spMkLst>
            <pc:docMk/>
            <pc:sldMk cId="687993788" sldId="306"/>
            <ac:spMk id="6" creationId="{CE16D78B-5C58-4DEC-895E-C67CB942FAB3}"/>
          </ac:spMkLst>
        </pc:spChg>
        <pc:spChg chg="add del mod modVis">
          <ac:chgData name="David Schlund | EWI" userId="00272c2a-d16f-4eb8-86ba-c28bcace438c" providerId="ADAL" clId="{46E1544F-72D8-4254-8935-79928106F321}" dt="2021-04-29T07:42:08.152" v="34738"/>
          <ac:spMkLst>
            <pc:docMk/>
            <pc:sldMk cId="687993788" sldId="306"/>
            <ac:spMk id="8" creationId="{E4436030-1DD8-4615-8104-80AF94FDF3CB}"/>
          </ac:spMkLst>
        </pc:spChg>
        <pc:spChg chg="add del mod modVis">
          <ac:chgData name="David Schlund | EWI" userId="00272c2a-d16f-4eb8-86ba-c28bcace438c" providerId="ADAL" clId="{46E1544F-72D8-4254-8935-79928106F321}" dt="2021-04-29T07:42:11.650" v="34798"/>
          <ac:spMkLst>
            <pc:docMk/>
            <pc:sldMk cId="687993788" sldId="306"/>
            <ac:spMk id="9" creationId="{43D7996C-955D-4873-8A1C-83829BF72EDC}"/>
          </ac:spMkLst>
        </pc:spChg>
        <pc:spChg chg="add del mod modVis">
          <ac:chgData name="David Schlund | EWI" userId="00272c2a-d16f-4eb8-86ba-c28bcace438c" providerId="ADAL" clId="{46E1544F-72D8-4254-8935-79928106F321}" dt="2021-04-29T07:42:12.749" v="34840"/>
          <ac:spMkLst>
            <pc:docMk/>
            <pc:sldMk cId="687993788" sldId="306"/>
            <ac:spMk id="10" creationId="{58430EDA-1B2F-4D06-A0B1-30AC5449A030}"/>
          </ac:spMkLst>
        </pc:spChg>
        <pc:spChg chg="add del mod modVis">
          <ac:chgData name="David Schlund | EWI" userId="00272c2a-d16f-4eb8-86ba-c28bcace438c" providerId="ADAL" clId="{46E1544F-72D8-4254-8935-79928106F321}" dt="2021-04-29T07:42:13.350" v="34881"/>
          <ac:spMkLst>
            <pc:docMk/>
            <pc:sldMk cId="687993788" sldId="306"/>
            <ac:spMk id="11" creationId="{4C878171-4A96-485B-806E-2E28B517F6EE}"/>
          </ac:spMkLst>
        </pc:spChg>
        <pc:graphicFrameChg chg="add mod ord modVis">
          <ac:chgData name="David Schlund | EWI" userId="00272c2a-d16f-4eb8-86ba-c28bcace438c" providerId="ADAL" clId="{46E1544F-72D8-4254-8935-79928106F321}" dt="2021-04-29T07:42:13.357" v="34883"/>
          <ac:graphicFrameMkLst>
            <pc:docMk/>
            <pc:sldMk cId="687993788" sldId="306"/>
            <ac:graphicFrameMk id="7" creationId="{B6E4F4FC-5569-48A9-A0A5-4070A5C25423}"/>
          </ac:graphicFrameMkLst>
        </pc:graphicFrameChg>
      </pc:sldChg>
      <pc:sldMasterChg chg="addSp modSp mod modSldLayout">
        <pc:chgData name="David Schlund | EWI" userId="00272c2a-d16f-4eb8-86ba-c28bcace438c" providerId="ADAL" clId="{46E1544F-72D8-4254-8935-79928106F321}" dt="2021-04-27T09:15:35.243" v="18460" actId="20577"/>
        <pc:sldMasterMkLst>
          <pc:docMk/>
          <pc:sldMasterMk cId="2796321052" sldId="2147483665"/>
        </pc:sldMasterMkLst>
        <pc:graphicFrameChg chg="add mod modVis">
          <ac:chgData name="David Schlund | EWI" userId="00272c2a-d16f-4eb8-86ba-c28bcace438c" providerId="ADAL" clId="{46E1544F-72D8-4254-8935-79928106F321}" dt="2021-04-08T09:14:39.423" v="356"/>
          <ac:graphicFrameMkLst>
            <pc:docMk/>
            <pc:sldMasterMk cId="2796321052" sldId="2147483665"/>
            <ac:graphicFrameMk id="2" creationId="{B49C99D7-4988-4BFE-B883-C5A96B2C068F}"/>
          </ac:graphicFrameMkLst>
        </pc:graphicFrameChg>
        <pc:sldLayoutChg chg="addSp modSp mod">
          <pc:chgData name="David Schlund | EWI" userId="00272c2a-d16f-4eb8-86ba-c28bcace438c" providerId="ADAL" clId="{46E1544F-72D8-4254-8935-79928106F321}" dt="2021-04-27T09:15:29.941" v="18456" actId="20577"/>
          <pc:sldLayoutMkLst>
            <pc:docMk/>
            <pc:sldMasterMk cId="2796321052" sldId="2147483665"/>
            <pc:sldLayoutMk cId="2143465567" sldId="2147483667"/>
          </pc:sldLayoutMkLst>
          <pc:spChg chg="mod">
            <ac:chgData name="David Schlund | EWI" userId="00272c2a-d16f-4eb8-86ba-c28bcace438c" providerId="ADAL" clId="{46E1544F-72D8-4254-8935-79928106F321}" dt="2021-04-27T09:15:29.941" v="18456" actId="20577"/>
            <ac:spMkLst>
              <pc:docMk/>
              <pc:sldMasterMk cId="2796321052" sldId="2147483665"/>
              <pc:sldLayoutMk cId="2143465567" sldId="2147483667"/>
              <ac:spMk id="9" creationId="{00000000-0000-0000-0000-000000000000}"/>
            </ac:spMkLst>
          </pc:spChg>
          <pc:picChg chg="add mod">
            <ac:chgData name="David Schlund | EWI" userId="00272c2a-d16f-4eb8-86ba-c28bcace438c" providerId="ADAL" clId="{46E1544F-72D8-4254-8935-79928106F321}" dt="2021-04-26T14:37:16.527" v="15240" actId="1076"/>
            <ac:picMkLst>
              <pc:docMk/>
              <pc:sldMasterMk cId="2796321052" sldId="2147483665"/>
              <pc:sldLayoutMk cId="2143465567" sldId="2147483667"/>
              <ac:picMk id="8" creationId="{FF0A9C9E-5BA7-4527-8C8B-020759CF8FC1}"/>
            </ac:picMkLst>
          </pc:picChg>
        </pc:sldLayoutChg>
        <pc:sldLayoutChg chg="addSp delSp modSp mod">
          <pc:chgData name="David Schlund | EWI" userId="00272c2a-d16f-4eb8-86ba-c28bcace438c" providerId="ADAL" clId="{46E1544F-72D8-4254-8935-79928106F321}" dt="2021-04-27T09:15:35.243" v="18460" actId="20577"/>
          <pc:sldLayoutMkLst>
            <pc:docMk/>
            <pc:sldMasterMk cId="2796321052" sldId="2147483665"/>
            <pc:sldLayoutMk cId="2000426831" sldId="2147483669"/>
          </pc:sldLayoutMkLst>
          <pc:spChg chg="mod">
            <ac:chgData name="David Schlund | EWI" userId="00272c2a-d16f-4eb8-86ba-c28bcace438c" providerId="ADAL" clId="{46E1544F-72D8-4254-8935-79928106F321}" dt="2021-04-27T09:15:35.243" v="18460" actId="20577"/>
            <ac:spMkLst>
              <pc:docMk/>
              <pc:sldMasterMk cId="2796321052" sldId="2147483665"/>
              <pc:sldLayoutMk cId="2000426831" sldId="2147483669"/>
              <ac:spMk id="12" creationId="{00000000-0000-0000-0000-000000000000}"/>
            </ac:spMkLst>
          </pc:spChg>
          <pc:picChg chg="add del mod">
            <ac:chgData name="David Schlund | EWI" userId="00272c2a-d16f-4eb8-86ba-c28bcace438c" providerId="ADAL" clId="{46E1544F-72D8-4254-8935-79928106F321}" dt="2021-04-26T14:36:38.449" v="15232" actId="478"/>
            <ac:picMkLst>
              <pc:docMk/>
              <pc:sldMasterMk cId="2796321052" sldId="2147483665"/>
              <pc:sldLayoutMk cId="2000426831" sldId="2147483669"/>
              <ac:picMk id="6" creationId="{75252BC1-CC4E-483F-9786-2040F141E4AD}"/>
            </ac:picMkLst>
          </pc:picChg>
          <pc:picChg chg="add del mod">
            <ac:chgData name="David Schlund | EWI" userId="00272c2a-d16f-4eb8-86ba-c28bcace438c" providerId="ADAL" clId="{46E1544F-72D8-4254-8935-79928106F321}" dt="2021-04-26T14:37:20.484" v="15241" actId="478"/>
            <ac:picMkLst>
              <pc:docMk/>
              <pc:sldMasterMk cId="2796321052" sldId="2147483665"/>
              <pc:sldLayoutMk cId="2000426831" sldId="2147483669"/>
              <ac:picMk id="9" creationId="{2F413653-0B45-4FA3-9D26-A2D7E490CD3F}"/>
            </ac:picMkLst>
          </pc:picChg>
          <pc:picChg chg="add mod">
            <ac:chgData name="David Schlund | EWI" userId="00272c2a-d16f-4eb8-86ba-c28bcace438c" providerId="ADAL" clId="{46E1544F-72D8-4254-8935-79928106F321}" dt="2021-04-26T14:37:20.723" v="15242"/>
            <ac:picMkLst>
              <pc:docMk/>
              <pc:sldMasterMk cId="2796321052" sldId="2147483665"/>
              <pc:sldLayoutMk cId="2000426831" sldId="2147483669"/>
              <ac:picMk id="13" creationId="{FC79628C-6E28-4411-A025-3D8BF485C72E}"/>
            </ac:picMkLst>
          </pc:picChg>
        </pc:sldLayoutChg>
        <pc:sldLayoutChg chg="addSp modSp mod">
          <pc:chgData name="David Schlund | EWI" userId="00272c2a-d16f-4eb8-86ba-c28bcace438c" providerId="ADAL" clId="{46E1544F-72D8-4254-8935-79928106F321}" dt="2021-04-26T14:37:00.383" v="15239" actId="1076"/>
          <pc:sldLayoutMkLst>
            <pc:docMk/>
            <pc:sldMasterMk cId="2796321052" sldId="2147483665"/>
            <pc:sldLayoutMk cId="3178063239" sldId="2147483677"/>
          </pc:sldLayoutMkLst>
          <pc:picChg chg="add mod">
            <ac:chgData name="David Schlund | EWI" userId="00272c2a-d16f-4eb8-86ba-c28bcace438c" providerId="ADAL" clId="{46E1544F-72D8-4254-8935-79928106F321}" dt="2021-04-26T14:37:00.383" v="15239" actId="1076"/>
            <ac:picMkLst>
              <pc:docMk/>
              <pc:sldMasterMk cId="2796321052" sldId="2147483665"/>
              <pc:sldLayoutMk cId="3178063239" sldId="2147483677"/>
              <ac:picMk id="6" creationId="{02966270-1666-4ACD-A35F-8FC296003EE6}"/>
            </ac:picMkLst>
          </pc:picChg>
        </pc:sldLayoutChg>
      </pc:sldMasterChg>
    </pc:docChg>
  </pc:docChgLst>
  <pc:docChgLst>
    <pc:chgData name="David Schlund | EWI" userId="S::david.schlund@ewi.uni-koeln.de::00272c2a-d16f-4eb8-86ba-c28bcace438c" providerId="AD" clId="Web-{B0C4DBDC-B318-98ED-193E-6656BB221C80}"/>
    <pc:docChg chg="delSld modSld modSection">
      <pc:chgData name="David Schlund | EWI" userId="S::david.schlund@ewi.uni-koeln.de::00272c2a-d16f-4eb8-86ba-c28bcace438c" providerId="AD" clId="Web-{B0C4DBDC-B318-98ED-193E-6656BB221C80}" dt="2021-04-21T08:20:17.745" v="1" actId="1076"/>
      <pc:docMkLst>
        <pc:docMk/>
      </pc:docMkLst>
      <pc:sldChg chg="del">
        <pc:chgData name="David Schlund | EWI" userId="S::david.schlund@ewi.uni-koeln.de::00272c2a-d16f-4eb8-86ba-c28bcace438c" providerId="AD" clId="Web-{B0C4DBDC-B318-98ED-193E-6656BB221C80}" dt="2021-04-21T08:20:13.698" v="0"/>
        <pc:sldMkLst>
          <pc:docMk/>
          <pc:sldMk cId="2323406534" sldId="264"/>
        </pc:sldMkLst>
      </pc:sldChg>
      <pc:sldChg chg="modSp">
        <pc:chgData name="David Schlund | EWI" userId="S::david.schlund@ewi.uni-koeln.de::00272c2a-d16f-4eb8-86ba-c28bcace438c" providerId="AD" clId="Web-{B0C4DBDC-B318-98ED-193E-6656BB221C80}" dt="2021-04-21T08:20:17.745" v="1" actId="1076"/>
        <pc:sldMkLst>
          <pc:docMk/>
          <pc:sldMk cId="860825555" sldId="282"/>
        </pc:sldMkLst>
        <pc:spChg chg="mod">
          <ac:chgData name="David Schlund | EWI" userId="S::david.schlund@ewi.uni-koeln.de::00272c2a-d16f-4eb8-86ba-c28bcace438c" providerId="AD" clId="Web-{B0C4DBDC-B318-98ED-193E-6656BB221C80}" dt="2021-04-21T08:20:17.745" v="1" actId="1076"/>
          <ac:spMkLst>
            <pc:docMk/>
            <pc:sldMk cId="860825555" sldId="282"/>
            <ac:spMk id="6" creationId="{E1BB5B1B-DE79-4523-9078-F8E423A20DD8}"/>
          </ac:spMkLst>
        </pc:spChg>
      </pc:sldChg>
    </pc:docChg>
  </pc:docChgLst>
  <pc:docChgLst>
    <pc:chgData name="Philipp Theile | EWI" userId="389f5144-a239-4438-b72c-100d5483c819" providerId="ADAL" clId="{5300C5ED-ECCF-4D12-B1A0-61D9C8C9B9A2}"/>
    <pc:docChg chg="undo redo custSel addSld delSld modSld sldOrd modMainMaster modSection">
      <pc:chgData name="Philipp Theile | EWI" userId="389f5144-a239-4438-b72c-100d5483c819" providerId="ADAL" clId="{5300C5ED-ECCF-4D12-B1A0-61D9C8C9B9A2}" dt="2021-09-07T06:33:47.549" v="4210"/>
      <pc:docMkLst>
        <pc:docMk/>
      </pc:docMkLst>
      <pc:sldChg chg="modSp mod">
        <pc:chgData name="Philipp Theile | EWI" userId="389f5144-a239-4438-b72c-100d5483c819" providerId="ADAL" clId="{5300C5ED-ECCF-4D12-B1A0-61D9C8C9B9A2}" dt="2021-09-05T16:43:11.441" v="2551" actId="20577"/>
        <pc:sldMkLst>
          <pc:docMk/>
          <pc:sldMk cId="689659190" sldId="256"/>
        </pc:sldMkLst>
        <pc:spChg chg="mod">
          <ac:chgData name="Philipp Theile | EWI" userId="389f5144-a239-4438-b72c-100d5483c819" providerId="ADAL" clId="{5300C5ED-ECCF-4D12-B1A0-61D9C8C9B9A2}" dt="2021-09-05T16:15:27.058" v="1201" actId="1038"/>
          <ac:spMkLst>
            <pc:docMk/>
            <pc:sldMk cId="689659190" sldId="256"/>
            <ac:spMk id="4" creationId="{00000000-0000-0000-0000-000000000000}"/>
          </ac:spMkLst>
        </pc:spChg>
        <pc:spChg chg="mod">
          <ac:chgData name="Philipp Theile | EWI" userId="389f5144-a239-4438-b72c-100d5483c819" providerId="ADAL" clId="{5300C5ED-ECCF-4D12-B1A0-61D9C8C9B9A2}" dt="2021-09-05T16:43:11.441" v="2551" actId="20577"/>
          <ac:spMkLst>
            <pc:docMk/>
            <pc:sldMk cId="689659190" sldId="256"/>
            <ac:spMk id="5" creationId="{00000000-0000-0000-0000-000000000000}"/>
          </ac:spMkLst>
        </pc:spChg>
      </pc:sldChg>
      <pc:sldChg chg="modSp mod modNotesTx">
        <pc:chgData name="Philipp Theile | EWI" userId="389f5144-a239-4438-b72c-100d5483c819" providerId="ADAL" clId="{5300C5ED-ECCF-4D12-B1A0-61D9C8C9B9A2}" dt="2021-09-06T16:25:17.474" v="3362" actId="20577"/>
        <pc:sldMkLst>
          <pc:docMk/>
          <pc:sldMk cId="2423556196" sldId="260"/>
        </pc:sldMkLst>
        <pc:spChg chg="mod">
          <ac:chgData name="Philipp Theile | EWI" userId="389f5144-a239-4438-b72c-100d5483c819" providerId="ADAL" clId="{5300C5ED-ECCF-4D12-B1A0-61D9C8C9B9A2}" dt="2021-09-06T16:16:29.309" v="2561" actId="20577"/>
          <ac:spMkLst>
            <pc:docMk/>
            <pc:sldMk cId="2423556196" sldId="260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5300C5ED-ECCF-4D12-B1A0-61D9C8C9B9A2}" dt="2021-09-05T16:11:09.740" v="948" actId="14100"/>
          <ac:spMkLst>
            <pc:docMk/>
            <pc:sldMk cId="2423556196" sldId="260"/>
            <ac:spMk id="4" creationId="{54D1BCFC-C60B-4F7C-8284-05CED1844E4E}"/>
          </ac:spMkLst>
        </pc:spChg>
        <pc:spChg chg="mod">
          <ac:chgData name="Philipp Theile | EWI" userId="389f5144-a239-4438-b72c-100d5483c819" providerId="ADAL" clId="{5300C5ED-ECCF-4D12-B1A0-61D9C8C9B9A2}" dt="2021-09-06T16:17:44.207" v="2573" actId="20577"/>
          <ac:spMkLst>
            <pc:docMk/>
            <pc:sldMk cId="2423556196" sldId="260"/>
            <ac:spMk id="6" creationId="{6F7D22F8-0604-414E-92B4-4096981DA794}"/>
          </ac:spMkLst>
        </pc:spChg>
        <pc:spChg chg="mod">
          <ac:chgData name="Philipp Theile | EWI" userId="389f5144-a239-4438-b72c-100d5483c819" providerId="ADAL" clId="{5300C5ED-ECCF-4D12-B1A0-61D9C8C9B9A2}" dt="2021-09-06T16:17:35.240" v="2562" actId="20577"/>
          <ac:spMkLst>
            <pc:docMk/>
            <pc:sldMk cId="2423556196" sldId="260"/>
            <ac:spMk id="7" creationId="{9C4C776D-D45B-4F44-8186-1EA31E3F288D}"/>
          </ac:spMkLst>
        </pc:spChg>
        <pc:spChg chg="mod">
          <ac:chgData name="Philipp Theile | EWI" userId="389f5144-a239-4438-b72c-100d5483c819" providerId="ADAL" clId="{5300C5ED-ECCF-4D12-B1A0-61D9C8C9B9A2}" dt="2021-09-05T16:10:38.811" v="917" actId="1035"/>
          <ac:spMkLst>
            <pc:docMk/>
            <pc:sldMk cId="2423556196" sldId="260"/>
            <ac:spMk id="10" creationId="{D5C81A7A-495B-45C4-BDB5-8E2C43DEA87E}"/>
          </ac:spMkLst>
        </pc:spChg>
        <pc:spChg chg="mod">
          <ac:chgData name="Philipp Theile | EWI" userId="389f5144-a239-4438-b72c-100d5483c819" providerId="ADAL" clId="{5300C5ED-ECCF-4D12-B1A0-61D9C8C9B9A2}" dt="2021-09-05T16:11:21.385" v="965" actId="1035"/>
          <ac:spMkLst>
            <pc:docMk/>
            <pc:sldMk cId="2423556196" sldId="260"/>
            <ac:spMk id="11" creationId="{A048582B-29E6-4827-A5FD-174175DC858C}"/>
          </ac:spMkLst>
        </pc:spChg>
        <pc:spChg chg="mod">
          <ac:chgData name="Philipp Theile | EWI" userId="389f5144-a239-4438-b72c-100d5483c819" providerId="ADAL" clId="{5300C5ED-ECCF-4D12-B1A0-61D9C8C9B9A2}" dt="2021-09-05T16:10:55.002" v="940" actId="1036"/>
          <ac:spMkLst>
            <pc:docMk/>
            <pc:sldMk cId="2423556196" sldId="260"/>
            <ac:spMk id="16" creationId="{F4331B9A-037E-44FB-85C4-8146ECF9A500}"/>
          </ac:spMkLst>
        </pc:spChg>
        <pc:spChg chg="mod">
          <ac:chgData name="Philipp Theile | EWI" userId="389f5144-a239-4438-b72c-100d5483c819" providerId="ADAL" clId="{5300C5ED-ECCF-4D12-B1A0-61D9C8C9B9A2}" dt="2021-09-05T16:11:26.338" v="975" actId="1035"/>
          <ac:spMkLst>
            <pc:docMk/>
            <pc:sldMk cId="2423556196" sldId="260"/>
            <ac:spMk id="17" creationId="{BE5D55EC-D55A-4AE7-A660-60DB717666C8}"/>
          </ac:spMkLst>
        </pc:spChg>
        <pc:spChg chg="mod">
          <ac:chgData name="Philipp Theile | EWI" userId="389f5144-a239-4438-b72c-100d5483c819" providerId="ADAL" clId="{5300C5ED-ECCF-4D12-B1A0-61D9C8C9B9A2}" dt="2021-09-05T16:11:31.090" v="984" actId="1035"/>
          <ac:spMkLst>
            <pc:docMk/>
            <pc:sldMk cId="2423556196" sldId="260"/>
            <ac:spMk id="20" creationId="{1F7C43C0-1CDD-44AE-A719-E4A22E14DA18}"/>
          </ac:spMkLst>
        </pc:spChg>
        <pc:spChg chg="mod">
          <ac:chgData name="Philipp Theile | EWI" userId="389f5144-a239-4438-b72c-100d5483c819" providerId="ADAL" clId="{5300C5ED-ECCF-4D12-B1A0-61D9C8C9B9A2}" dt="2021-09-05T16:09:58.683" v="849" actId="113"/>
          <ac:spMkLst>
            <pc:docMk/>
            <pc:sldMk cId="2423556196" sldId="260"/>
            <ac:spMk id="22" creationId="{692FC60D-16FE-4FE1-A745-BCBE8FA7C7B5}"/>
          </ac:spMkLst>
        </pc:spChg>
      </pc:sldChg>
      <pc:sldChg chg="modSp mod modNotesTx">
        <pc:chgData name="Philipp Theile | EWI" userId="389f5144-a239-4438-b72c-100d5483c819" providerId="ADAL" clId="{5300C5ED-ECCF-4D12-B1A0-61D9C8C9B9A2}" dt="2021-09-06T16:32:49.257" v="4144" actId="20577"/>
        <pc:sldMkLst>
          <pc:docMk/>
          <pc:sldMk cId="3372621598" sldId="262"/>
        </pc:sldMkLst>
        <pc:spChg chg="mod">
          <ac:chgData name="Philipp Theile | EWI" userId="389f5144-a239-4438-b72c-100d5483c819" providerId="ADAL" clId="{5300C5ED-ECCF-4D12-B1A0-61D9C8C9B9A2}" dt="2021-09-05T16:18:00.826" v="1311" actId="20577"/>
          <ac:spMkLst>
            <pc:docMk/>
            <pc:sldMk cId="3372621598" sldId="262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5300C5ED-ECCF-4D12-B1A0-61D9C8C9B9A2}" dt="2021-09-05T16:18:51.268" v="1367" actId="20577"/>
          <ac:spMkLst>
            <pc:docMk/>
            <pc:sldMk cId="3372621598" sldId="262"/>
            <ac:spMk id="26" creationId="{FEB5DD18-0FF7-49DB-A097-868221D2C72A}"/>
          </ac:spMkLst>
        </pc:spChg>
      </pc:sldChg>
      <pc:sldChg chg="modSp mod modAnim modNotesTx">
        <pc:chgData name="Philipp Theile | EWI" userId="389f5144-a239-4438-b72c-100d5483c819" providerId="ADAL" clId="{5300C5ED-ECCF-4D12-B1A0-61D9C8C9B9A2}" dt="2021-09-06T16:18:39.422" v="2575"/>
        <pc:sldMkLst>
          <pc:docMk/>
          <pc:sldMk cId="3182278550" sldId="271"/>
        </pc:sldMkLst>
        <pc:spChg chg="mod">
          <ac:chgData name="Philipp Theile | EWI" userId="389f5144-a239-4438-b72c-100d5483c819" providerId="ADAL" clId="{5300C5ED-ECCF-4D12-B1A0-61D9C8C9B9A2}" dt="2021-09-05T16:08:51.946" v="845" actId="20577"/>
          <ac:spMkLst>
            <pc:docMk/>
            <pc:sldMk cId="3182278550" sldId="271"/>
            <ac:spMk id="2" creationId="{86FB6454-D977-4264-8971-047BBA0B0378}"/>
          </ac:spMkLst>
        </pc:spChg>
        <pc:spChg chg="mod">
          <ac:chgData name="Philipp Theile | EWI" userId="389f5144-a239-4438-b72c-100d5483c819" providerId="ADAL" clId="{5300C5ED-ECCF-4D12-B1A0-61D9C8C9B9A2}" dt="2021-09-05T16:39:45.436" v="2098" actId="20577"/>
          <ac:spMkLst>
            <pc:docMk/>
            <pc:sldMk cId="3182278550" sldId="271"/>
            <ac:spMk id="4" creationId="{7CDD3EA2-EC45-4583-8A85-225B0FCDAA63}"/>
          </ac:spMkLst>
        </pc:spChg>
        <pc:spChg chg="mod">
          <ac:chgData name="Philipp Theile | EWI" userId="389f5144-a239-4438-b72c-100d5483c819" providerId="ADAL" clId="{5300C5ED-ECCF-4D12-B1A0-61D9C8C9B9A2}" dt="2021-09-05T16:40:00.713" v="2142" actId="20577"/>
          <ac:spMkLst>
            <pc:docMk/>
            <pc:sldMk cId="3182278550" sldId="271"/>
            <ac:spMk id="8" creationId="{C2838889-CF3D-4978-A62F-4EF6A95903B2}"/>
          </ac:spMkLst>
        </pc:spChg>
        <pc:spChg chg="mod">
          <ac:chgData name="Philipp Theile | EWI" userId="389f5144-a239-4438-b72c-100d5483c819" providerId="ADAL" clId="{5300C5ED-ECCF-4D12-B1A0-61D9C8C9B9A2}" dt="2021-09-05T16:40:12.841" v="2169" actId="20577"/>
          <ac:spMkLst>
            <pc:docMk/>
            <pc:sldMk cId="3182278550" sldId="271"/>
            <ac:spMk id="9" creationId="{F1A40134-8C20-49C6-9163-DA21AEAB7201}"/>
          </ac:spMkLst>
        </pc:spChg>
        <pc:spChg chg="mod">
          <ac:chgData name="Philipp Theile | EWI" userId="389f5144-a239-4438-b72c-100d5483c819" providerId="ADAL" clId="{5300C5ED-ECCF-4D12-B1A0-61D9C8C9B9A2}" dt="2021-09-05T16:42:37.408" v="2480" actId="20577"/>
          <ac:spMkLst>
            <pc:docMk/>
            <pc:sldMk cId="3182278550" sldId="271"/>
            <ac:spMk id="23" creationId="{50C385E6-9639-4272-8AA6-FEC580A24124}"/>
          </ac:spMkLst>
        </pc:spChg>
        <pc:spChg chg="mod">
          <ac:chgData name="Philipp Theile | EWI" userId="389f5144-a239-4438-b72c-100d5483c819" providerId="ADAL" clId="{5300C5ED-ECCF-4D12-B1A0-61D9C8C9B9A2}" dt="2021-09-05T16:41:40.961" v="2334" actId="1035"/>
          <ac:spMkLst>
            <pc:docMk/>
            <pc:sldMk cId="3182278550" sldId="271"/>
            <ac:spMk id="26" creationId="{80B8816B-FF78-4768-B510-AB9B28456979}"/>
          </ac:spMkLst>
        </pc:spChg>
        <pc:spChg chg="mod">
          <ac:chgData name="Philipp Theile | EWI" userId="389f5144-a239-4438-b72c-100d5483c819" providerId="ADAL" clId="{5300C5ED-ECCF-4D12-B1A0-61D9C8C9B9A2}" dt="2021-09-05T16:41:35.020" v="2315" actId="20577"/>
          <ac:spMkLst>
            <pc:docMk/>
            <pc:sldMk cId="3182278550" sldId="271"/>
            <ac:spMk id="43" creationId="{1BC315BD-D699-4BF7-BBD6-2FD7678ED7AF}"/>
          </ac:spMkLst>
        </pc:spChg>
        <pc:grpChg chg="mod">
          <ac:chgData name="Philipp Theile | EWI" userId="389f5144-a239-4438-b72c-100d5483c819" providerId="ADAL" clId="{5300C5ED-ECCF-4D12-B1A0-61D9C8C9B9A2}" dt="2021-09-05T16:38:25.769" v="1922" actId="1035"/>
          <ac:grpSpMkLst>
            <pc:docMk/>
            <pc:sldMk cId="3182278550" sldId="271"/>
            <ac:grpSpMk id="6" creationId="{29E127A8-6031-4749-8C7B-6FF111E6A688}"/>
          </ac:grpSpMkLst>
        </pc:grpChg>
        <pc:grpChg chg="mod">
          <ac:chgData name="Philipp Theile | EWI" userId="389f5144-a239-4438-b72c-100d5483c819" providerId="ADAL" clId="{5300C5ED-ECCF-4D12-B1A0-61D9C8C9B9A2}" dt="2021-09-05T16:38:25.769" v="1922" actId="1035"/>
          <ac:grpSpMkLst>
            <pc:docMk/>
            <pc:sldMk cId="3182278550" sldId="271"/>
            <ac:grpSpMk id="10" creationId="{F7AB5118-5D0C-431B-A511-D802E433CDAF}"/>
          </ac:grpSpMkLst>
        </pc:grpChg>
        <pc:grpChg chg="mod">
          <ac:chgData name="Philipp Theile | EWI" userId="389f5144-a239-4438-b72c-100d5483c819" providerId="ADAL" clId="{5300C5ED-ECCF-4D12-B1A0-61D9C8C9B9A2}" dt="2021-09-05T16:38:25.769" v="1922" actId="1035"/>
          <ac:grpSpMkLst>
            <pc:docMk/>
            <pc:sldMk cId="3182278550" sldId="271"/>
            <ac:grpSpMk id="14" creationId="{7EFA6080-2198-491A-A444-7B8D0D6B84A0}"/>
          </ac:grpSpMkLst>
        </pc:grpChg>
      </pc:sldChg>
      <pc:sldChg chg="del ord">
        <pc:chgData name="Philipp Theile | EWI" userId="389f5144-a239-4438-b72c-100d5483c819" providerId="ADAL" clId="{5300C5ED-ECCF-4D12-B1A0-61D9C8C9B9A2}" dt="2021-09-06T16:41:06.375" v="4188" actId="47"/>
        <pc:sldMkLst>
          <pc:docMk/>
          <pc:sldMk cId="1584105889" sldId="274"/>
        </pc:sldMkLst>
      </pc:sldChg>
      <pc:sldChg chg="del ord">
        <pc:chgData name="Philipp Theile | EWI" userId="389f5144-a239-4438-b72c-100d5483c819" providerId="ADAL" clId="{5300C5ED-ECCF-4D12-B1A0-61D9C8C9B9A2}" dt="2021-09-06T16:41:04.975" v="4187" actId="47"/>
        <pc:sldMkLst>
          <pc:docMk/>
          <pc:sldMk cId="3240953706" sldId="276"/>
        </pc:sldMkLst>
      </pc:sldChg>
      <pc:sldChg chg="delSp modSp mod modAnim modNotesTx">
        <pc:chgData name="Philipp Theile | EWI" userId="389f5144-a239-4438-b72c-100d5483c819" providerId="ADAL" clId="{5300C5ED-ECCF-4D12-B1A0-61D9C8C9B9A2}" dt="2021-09-06T16:18:22.839" v="2574"/>
        <pc:sldMkLst>
          <pc:docMk/>
          <pc:sldMk cId="1129182750" sldId="279"/>
        </pc:sldMkLst>
        <pc:spChg chg="mod">
          <ac:chgData name="Philipp Theile | EWI" userId="389f5144-a239-4438-b72c-100d5483c819" providerId="ADAL" clId="{5300C5ED-ECCF-4D12-B1A0-61D9C8C9B9A2}" dt="2021-09-05T16:08:47.275" v="835" actId="20577"/>
          <ac:spMkLst>
            <pc:docMk/>
            <pc:sldMk cId="1129182750" sldId="279"/>
            <ac:spMk id="2" creationId="{0317863B-24CA-45B0-871D-01352D5B235A}"/>
          </ac:spMkLst>
        </pc:spChg>
        <pc:spChg chg="mod">
          <ac:chgData name="Philipp Theile | EWI" userId="389f5144-a239-4438-b72c-100d5483c819" providerId="ADAL" clId="{5300C5ED-ECCF-4D12-B1A0-61D9C8C9B9A2}" dt="2021-09-05T15:57:06.490" v="492" actId="14100"/>
          <ac:spMkLst>
            <pc:docMk/>
            <pc:sldMk cId="1129182750" sldId="279"/>
            <ac:spMk id="6" creationId="{9CBFA281-9984-4D1D-9084-C4ECA40CB62B}"/>
          </ac:spMkLst>
        </pc:spChg>
        <pc:spChg chg="mod">
          <ac:chgData name="Philipp Theile | EWI" userId="389f5144-a239-4438-b72c-100d5483c819" providerId="ADAL" clId="{5300C5ED-ECCF-4D12-B1A0-61D9C8C9B9A2}" dt="2021-09-05T15:57:11.534" v="504" actId="20577"/>
          <ac:spMkLst>
            <pc:docMk/>
            <pc:sldMk cId="1129182750" sldId="279"/>
            <ac:spMk id="12" creationId="{C398DA24-6CD7-484F-8CED-8EA458186855}"/>
          </ac:spMkLst>
        </pc:spChg>
        <pc:spChg chg="mod">
          <ac:chgData name="Philipp Theile | EWI" userId="389f5144-a239-4438-b72c-100d5483c819" providerId="ADAL" clId="{5300C5ED-ECCF-4D12-B1A0-61D9C8C9B9A2}" dt="2021-09-05T16:16:13.628" v="1210" actId="20577"/>
          <ac:spMkLst>
            <pc:docMk/>
            <pc:sldMk cId="1129182750" sldId="279"/>
            <ac:spMk id="70" creationId="{63A10342-68FC-468E-A92A-0B338FD3D3DE}"/>
          </ac:spMkLst>
        </pc:spChg>
        <pc:spChg chg="mod">
          <ac:chgData name="Philipp Theile | EWI" userId="389f5144-a239-4438-b72c-100d5483c819" providerId="ADAL" clId="{5300C5ED-ECCF-4D12-B1A0-61D9C8C9B9A2}" dt="2021-09-05T16:16:18.808" v="1220" actId="20577"/>
          <ac:spMkLst>
            <pc:docMk/>
            <pc:sldMk cId="1129182750" sldId="279"/>
            <ac:spMk id="77" creationId="{E7420639-9DA0-45A7-B907-3A6D29D06F6A}"/>
          </ac:spMkLst>
        </pc:spChg>
        <pc:spChg chg="mod">
          <ac:chgData name="Philipp Theile | EWI" userId="389f5144-a239-4438-b72c-100d5483c819" providerId="ADAL" clId="{5300C5ED-ECCF-4D12-B1A0-61D9C8C9B9A2}" dt="2021-09-05T16:16:26.841" v="1236" actId="20577"/>
          <ac:spMkLst>
            <pc:docMk/>
            <pc:sldMk cId="1129182750" sldId="279"/>
            <ac:spMk id="83" creationId="{5ECF83C0-88BF-4D00-A9F2-A6A0EC135403}"/>
          </ac:spMkLst>
        </pc:spChg>
        <pc:spChg chg="mod">
          <ac:chgData name="Philipp Theile | EWI" userId="389f5144-a239-4438-b72c-100d5483c819" providerId="ADAL" clId="{5300C5ED-ECCF-4D12-B1A0-61D9C8C9B9A2}" dt="2021-09-05T15:58:01.231" v="555" actId="14100"/>
          <ac:spMkLst>
            <pc:docMk/>
            <pc:sldMk cId="1129182750" sldId="279"/>
            <ac:spMk id="98" creationId="{C957BBF0-E923-4EA8-A9F6-BBA83C8BF78A}"/>
          </ac:spMkLst>
        </pc:spChg>
        <pc:spChg chg="mod">
          <ac:chgData name="Philipp Theile | EWI" userId="389f5144-a239-4438-b72c-100d5483c819" providerId="ADAL" clId="{5300C5ED-ECCF-4D12-B1A0-61D9C8C9B9A2}" dt="2021-09-05T15:58:30.976" v="605" actId="14100"/>
          <ac:spMkLst>
            <pc:docMk/>
            <pc:sldMk cId="1129182750" sldId="279"/>
            <ac:spMk id="108" creationId="{4CA67138-C0E5-4BA7-B41E-46B51A67647A}"/>
          </ac:spMkLst>
        </pc:spChg>
        <pc:spChg chg="mod">
          <ac:chgData name="Philipp Theile | EWI" userId="389f5144-a239-4438-b72c-100d5483c819" providerId="ADAL" clId="{5300C5ED-ECCF-4D12-B1A0-61D9C8C9B9A2}" dt="2021-09-05T15:58:50.736" v="644" actId="14100"/>
          <ac:spMkLst>
            <pc:docMk/>
            <pc:sldMk cId="1129182750" sldId="279"/>
            <ac:spMk id="118" creationId="{0AFC70B0-1571-4C39-8B6D-B9993A83A4F7}"/>
          </ac:spMkLst>
        </pc:spChg>
        <pc:spChg chg="del mod">
          <ac:chgData name="Philipp Theile | EWI" userId="389f5144-a239-4438-b72c-100d5483c819" providerId="ADAL" clId="{5300C5ED-ECCF-4D12-B1A0-61D9C8C9B9A2}" dt="2021-09-05T15:57:33.805" v="533" actId="478"/>
          <ac:spMkLst>
            <pc:docMk/>
            <pc:sldMk cId="1129182750" sldId="279"/>
            <ac:spMk id="128" creationId="{24B99D05-F213-4014-BF4B-04A27451B861}"/>
          </ac:spMkLst>
        </pc:spChg>
        <pc:spChg chg="del">
          <ac:chgData name="Philipp Theile | EWI" userId="389f5144-a239-4438-b72c-100d5483c819" providerId="ADAL" clId="{5300C5ED-ECCF-4D12-B1A0-61D9C8C9B9A2}" dt="2021-09-05T15:58:03.873" v="556" actId="478"/>
          <ac:spMkLst>
            <pc:docMk/>
            <pc:sldMk cId="1129182750" sldId="279"/>
            <ac:spMk id="132" creationId="{0B0F5150-BFD0-45EF-AF8E-A313319D1B0A}"/>
          </ac:spMkLst>
        </pc:spChg>
        <pc:spChg chg="del">
          <ac:chgData name="Philipp Theile | EWI" userId="389f5144-a239-4438-b72c-100d5483c819" providerId="ADAL" clId="{5300C5ED-ECCF-4D12-B1A0-61D9C8C9B9A2}" dt="2021-09-05T15:58:33.458" v="606" actId="478"/>
          <ac:spMkLst>
            <pc:docMk/>
            <pc:sldMk cId="1129182750" sldId="279"/>
            <ac:spMk id="135" creationId="{E59DA17F-E4E4-4460-99E7-DA051D1CCD6C}"/>
          </ac:spMkLst>
        </pc:spChg>
        <pc:spChg chg="mod">
          <ac:chgData name="Philipp Theile | EWI" userId="389f5144-a239-4438-b72c-100d5483c819" providerId="ADAL" clId="{5300C5ED-ECCF-4D12-B1A0-61D9C8C9B9A2}" dt="2021-09-05T15:59:01.108" v="672" actId="20577"/>
          <ac:spMkLst>
            <pc:docMk/>
            <pc:sldMk cId="1129182750" sldId="279"/>
            <ac:spMk id="141" creationId="{36234473-0062-4746-802A-F4ED64F20401}"/>
          </ac:spMkLst>
        </pc:spChg>
      </pc:sldChg>
      <pc:sldChg chg="addSp modSp mod modAnim modNotesTx">
        <pc:chgData name="Philipp Theile | EWI" userId="389f5144-a239-4438-b72c-100d5483c819" providerId="ADAL" clId="{5300C5ED-ECCF-4D12-B1A0-61D9C8C9B9A2}" dt="2021-09-06T16:25:36.706" v="3364"/>
        <pc:sldMkLst>
          <pc:docMk/>
          <pc:sldMk cId="860825555" sldId="282"/>
        </pc:sldMkLst>
        <pc:spChg chg="mod">
          <ac:chgData name="Philipp Theile | EWI" userId="389f5144-a239-4438-b72c-100d5483c819" providerId="ADAL" clId="{5300C5ED-ECCF-4D12-B1A0-61D9C8C9B9A2}" dt="2021-09-05T16:14:36.508" v="1171" actId="20577"/>
          <ac:spMkLst>
            <pc:docMk/>
            <pc:sldMk cId="860825555" sldId="282"/>
            <ac:spMk id="2" creationId="{00000000-0000-0000-0000-000000000000}"/>
          </ac:spMkLst>
        </pc:spChg>
        <pc:spChg chg="add mod">
          <ac:chgData name="Philipp Theile | EWI" userId="389f5144-a239-4438-b72c-100d5483c819" providerId="ADAL" clId="{5300C5ED-ECCF-4D12-B1A0-61D9C8C9B9A2}" dt="2021-09-05T15:55:07.440" v="393"/>
          <ac:spMkLst>
            <pc:docMk/>
            <pc:sldMk cId="860825555" sldId="282"/>
            <ac:spMk id="28" creationId="{46066433-8169-40A7-9613-DCF22F619199}"/>
          </ac:spMkLst>
        </pc:spChg>
        <pc:spChg chg="mod">
          <ac:chgData name="Philipp Theile | EWI" userId="389f5144-a239-4438-b72c-100d5483c819" providerId="ADAL" clId="{5300C5ED-ECCF-4D12-B1A0-61D9C8C9B9A2}" dt="2021-09-05T15:55:46.258" v="434"/>
          <ac:spMkLst>
            <pc:docMk/>
            <pc:sldMk cId="860825555" sldId="282"/>
            <ac:spMk id="50" creationId="{FDF8905D-925B-46D6-AE1F-66FD20FFE3AE}"/>
          </ac:spMkLst>
        </pc:spChg>
        <pc:spChg chg="mod">
          <ac:chgData name="Philipp Theile | EWI" userId="389f5144-a239-4438-b72c-100d5483c819" providerId="ADAL" clId="{5300C5ED-ECCF-4D12-B1A0-61D9C8C9B9A2}" dt="2021-09-05T15:55:46.258" v="434"/>
          <ac:spMkLst>
            <pc:docMk/>
            <pc:sldMk cId="860825555" sldId="282"/>
            <ac:spMk id="51" creationId="{F32A7A51-565A-4135-9694-613B26EF639D}"/>
          </ac:spMkLst>
        </pc:spChg>
        <pc:spChg chg="mod">
          <ac:chgData name="Philipp Theile | EWI" userId="389f5144-a239-4438-b72c-100d5483c819" providerId="ADAL" clId="{5300C5ED-ECCF-4D12-B1A0-61D9C8C9B9A2}" dt="2021-09-05T15:55:46.258" v="434"/>
          <ac:spMkLst>
            <pc:docMk/>
            <pc:sldMk cId="860825555" sldId="282"/>
            <ac:spMk id="54" creationId="{DF0CDAA6-96C5-4652-9650-7723A7ED2734}"/>
          </ac:spMkLst>
        </pc:spChg>
        <pc:spChg chg="mod">
          <ac:chgData name="Philipp Theile | EWI" userId="389f5144-a239-4438-b72c-100d5483c819" providerId="ADAL" clId="{5300C5ED-ECCF-4D12-B1A0-61D9C8C9B9A2}" dt="2021-09-05T15:55:46.258" v="434"/>
          <ac:spMkLst>
            <pc:docMk/>
            <pc:sldMk cId="860825555" sldId="282"/>
            <ac:spMk id="90" creationId="{3B429B1A-65F4-4741-873B-26904D854D28}"/>
          </ac:spMkLst>
        </pc:spChg>
        <pc:spChg chg="mod">
          <ac:chgData name="Philipp Theile | EWI" userId="389f5144-a239-4438-b72c-100d5483c819" providerId="ADAL" clId="{5300C5ED-ECCF-4D12-B1A0-61D9C8C9B9A2}" dt="2021-09-05T15:55:46.258" v="434"/>
          <ac:spMkLst>
            <pc:docMk/>
            <pc:sldMk cId="860825555" sldId="282"/>
            <ac:spMk id="91" creationId="{E753FF73-9594-4832-9C58-C479F349A0F9}"/>
          </ac:spMkLst>
        </pc:spChg>
        <pc:spChg chg="mod">
          <ac:chgData name="Philipp Theile | EWI" userId="389f5144-a239-4438-b72c-100d5483c819" providerId="ADAL" clId="{5300C5ED-ECCF-4D12-B1A0-61D9C8C9B9A2}" dt="2021-09-05T15:54:45.075" v="374" actId="20577"/>
          <ac:spMkLst>
            <pc:docMk/>
            <pc:sldMk cId="860825555" sldId="282"/>
            <ac:spMk id="101" creationId="{929A39F6-9182-416D-864C-EAE3ED395B5B}"/>
          </ac:spMkLst>
        </pc:spChg>
        <pc:spChg chg="mod">
          <ac:chgData name="Philipp Theile | EWI" userId="389f5144-a239-4438-b72c-100d5483c819" providerId="ADAL" clId="{5300C5ED-ECCF-4D12-B1A0-61D9C8C9B9A2}" dt="2021-09-05T15:56:50.124" v="489" actId="20577"/>
          <ac:spMkLst>
            <pc:docMk/>
            <pc:sldMk cId="860825555" sldId="282"/>
            <ac:spMk id="102" creationId="{D350D715-A7CF-4585-8CB2-606491E8F592}"/>
          </ac:spMkLst>
        </pc:spChg>
        <pc:grpChg chg="mod">
          <ac:chgData name="Philipp Theile | EWI" userId="389f5144-a239-4438-b72c-100d5483c819" providerId="ADAL" clId="{5300C5ED-ECCF-4D12-B1A0-61D9C8C9B9A2}" dt="2021-09-05T15:55:46.258" v="434"/>
          <ac:grpSpMkLst>
            <pc:docMk/>
            <pc:sldMk cId="860825555" sldId="282"/>
            <ac:grpSpMk id="3" creationId="{37F47E9C-5469-4091-8473-4FC1D0D076F0}"/>
          </ac:grpSpMkLst>
        </pc:grpChg>
        <pc:grpChg chg="mod">
          <ac:chgData name="Philipp Theile | EWI" userId="389f5144-a239-4438-b72c-100d5483c819" providerId="ADAL" clId="{5300C5ED-ECCF-4D12-B1A0-61D9C8C9B9A2}" dt="2021-09-05T15:55:46.258" v="434"/>
          <ac:grpSpMkLst>
            <pc:docMk/>
            <pc:sldMk cId="860825555" sldId="282"/>
            <ac:grpSpMk id="46" creationId="{DE4E4A17-FCE2-48C4-A3E4-08CD3D80960F}"/>
          </ac:grpSpMkLst>
        </pc:grpChg>
        <pc:grpChg chg="mod">
          <ac:chgData name="Philipp Theile | EWI" userId="389f5144-a239-4438-b72c-100d5483c819" providerId="ADAL" clId="{5300C5ED-ECCF-4D12-B1A0-61D9C8C9B9A2}" dt="2021-09-05T15:55:46.258" v="434"/>
          <ac:grpSpMkLst>
            <pc:docMk/>
            <pc:sldMk cId="860825555" sldId="282"/>
            <ac:grpSpMk id="53" creationId="{8ABE782D-BA52-4F11-9E48-DC434D44F288}"/>
          </ac:grpSpMkLst>
        </pc:grpChg>
        <pc:picChg chg="mod">
          <ac:chgData name="Philipp Theile | EWI" userId="389f5144-a239-4438-b72c-100d5483c819" providerId="ADAL" clId="{5300C5ED-ECCF-4D12-B1A0-61D9C8C9B9A2}" dt="2021-09-05T15:55:46.258" v="434"/>
          <ac:picMkLst>
            <pc:docMk/>
            <pc:sldMk cId="860825555" sldId="282"/>
            <ac:picMk id="44" creationId="{D0BCB64E-FA33-44C3-85EF-E966AC0AE57B}"/>
          </ac:picMkLst>
        </pc:picChg>
        <pc:picChg chg="mod">
          <ac:chgData name="Philipp Theile | EWI" userId="389f5144-a239-4438-b72c-100d5483c819" providerId="ADAL" clId="{5300C5ED-ECCF-4D12-B1A0-61D9C8C9B9A2}" dt="2021-09-05T15:55:46.258" v="434"/>
          <ac:picMkLst>
            <pc:docMk/>
            <pc:sldMk cId="860825555" sldId="282"/>
            <ac:picMk id="47" creationId="{5831C486-E6B8-49C7-AB1A-8B0A851C9A40}"/>
          </ac:picMkLst>
        </pc:picChg>
        <pc:picChg chg="mod">
          <ac:chgData name="Philipp Theile | EWI" userId="389f5144-a239-4438-b72c-100d5483c819" providerId="ADAL" clId="{5300C5ED-ECCF-4D12-B1A0-61D9C8C9B9A2}" dt="2021-09-05T15:55:46.258" v="434"/>
          <ac:picMkLst>
            <pc:docMk/>
            <pc:sldMk cId="860825555" sldId="282"/>
            <ac:picMk id="48" creationId="{3A8799DB-5336-4C10-B246-12824662846A}"/>
          </ac:picMkLst>
        </pc:picChg>
        <pc:picChg chg="mod">
          <ac:chgData name="Philipp Theile | EWI" userId="389f5144-a239-4438-b72c-100d5483c819" providerId="ADAL" clId="{5300C5ED-ECCF-4D12-B1A0-61D9C8C9B9A2}" dt="2021-09-05T15:55:46.258" v="434"/>
          <ac:picMkLst>
            <pc:docMk/>
            <pc:sldMk cId="860825555" sldId="282"/>
            <ac:picMk id="55" creationId="{639D95B8-07DE-4345-806B-7C0024DAD0E1}"/>
          </ac:picMkLst>
        </pc:picChg>
        <pc:picChg chg="mod">
          <ac:chgData name="Philipp Theile | EWI" userId="389f5144-a239-4438-b72c-100d5483c819" providerId="ADAL" clId="{5300C5ED-ECCF-4D12-B1A0-61D9C8C9B9A2}" dt="2021-09-05T15:55:46.258" v="434"/>
          <ac:picMkLst>
            <pc:docMk/>
            <pc:sldMk cId="860825555" sldId="282"/>
            <ac:picMk id="64" creationId="{234AC853-94E5-455D-A0CD-D22E49A8783B}"/>
          </ac:picMkLst>
        </pc:picChg>
        <pc:picChg chg="mod">
          <ac:chgData name="Philipp Theile | EWI" userId="389f5144-a239-4438-b72c-100d5483c819" providerId="ADAL" clId="{5300C5ED-ECCF-4D12-B1A0-61D9C8C9B9A2}" dt="2021-09-05T15:55:46.258" v="434"/>
          <ac:picMkLst>
            <pc:docMk/>
            <pc:sldMk cId="860825555" sldId="282"/>
            <ac:picMk id="65" creationId="{9C32B027-CB1A-4577-91E0-C14096C46D9F}"/>
          </ac:picMkLst>
        </pc:picChg>
        <pc:picChg chg="mod">
          <ac:chgData name="Philipp Theile | EWI" userId="389f5144-a239-4438-b72c-100d5483c819" providerId="ADAL" clId="{5300C5ED-ECCF-4D12-B1A0-61D9C8C9B9A2}" dt="2021-09-05T15:55:46.258" v="434"/>
          <ac:picMkLst>
            <pc:docMk/>
            <pc:sldMk cId="860825555" sldId="282"/>
            <ac:picMk id="94" creationId="{2181F259-88C1-474C-B778-4442B7B7F862}"/>
          </ac:picMkLst>
        </pc:picChg>
        <pc:cxnChg chg="mod">
          <ac:chgData name="Philipp Theile | EWI" userId="389f5144-a239-4438-b72c-100d5483c819" providerId="ADAL" clId="{5300C5ED-ECCF-4D12-B1A0-61D9C8C9B9A2}" dt="2021-09-05T15:55:46.258" v="434"/>
          <ac:cxnSpMkLst>
            <pc:docMk/>
            <pc:sldMk cId="860825555" sldId="282"/>
            <ac:cxnSpMk id="49" creationId="{5372F93F-5558-4027-B4ED-42D7CB64B4FD}"/>
          </ac:cxnSpMkLst>
        </pc:cxnChg>
        <pc:cxnChg chg="mod">
          <ac:chgData name="Philipp Theile | EWI" userId="389f5144-a239-4438-b72c-100d5483c819" providerId="ADAL" clId="{5300C5ED-ECCF-4D12-B1A0-61D9C8C9B9A2}" dt="2021-09-05T15:55:46.258" v="434"/>
          <ac:cxnSpMkLst>
            <pc:docMk/>
            <pc:sldMk cId="860825555" sldId="282"/>
            <ac:cxnSpMk id="82" creationId="{DBA4284E-E515-4F4E-A00C-1AC024FEF78C}"/>
          </ac:cxnSpMkLst>
        </pc:cxnChg>
        <pc:cxnChg chg="mod">
          <ac:chgData name="Philipp Theile | EWI" userId="389f5144-a239-4438-b72c-100d5483c819" providerId="ADAL" clId="{5300C5ED-ECCF-4D12-B1A0-61D9C8C9B9A2}" dt="2021-09-05T15:55:46.258" v="434"/>
          <ac:cxnSpMkLst>
            <pc:docMk/>
            <pc:sldMk cId="860825555" sldId="282"/>
            <ac:cxnSpMk id="84" creationId="{A962E916-BCE7-405F-A50C-EFA5D4878D3E}"/>
          </ac:cxnSpMkLst>
        </pc:cxnChg>
        <pc:cxnChg chg="mod">
          <ac:chgData name="Philipp Theile | EWI" userId="389f5144-a239-4438-b72c-100d5483c819" providerId="ADAL" clId="{5300C5ED-ECCF-4D12-B1A0-61D9C8C9B9A2}" dt="2021-09-05T15:55:46.258" v="434"/>
          <ac:cxnSpMkLst>
            <pc:docMk/>
            <pc:sldMk cId="860825555" sldId="282"/>
            <ac:cxnSpMk id="86" creationId="{2042E018-396E-40EA-91C7-8B47E8BCB308}"/>
          </ac:cxnSpMkLst>
        </pc:cxnChg>
        <pc:cxnChg chg="mod">
          <ac:chgData name="Philipp Theile | EWI" userId="389f5144-a239-4438-b72c-100d5483c819" providerId="ADAL" clId="{5300C5ED-ECCF-4D12-B1A0-61D9C8C9B9A2}" dt="2021-09-05T15:55:46.258" v="434"/>
          <ac:cxnSpMkLst>
            <pc:docMk/>
            <pc:sldMk cId="860825555" sldId="282"/>
            <ac:cxnSpMk id="89" creationId="{3A77226B-047F-4ED4-85FD-2CFE3D2F9A63}"/>
          </ac:cxnSpMkLst>
        </pc:cxnChg>
        <pc:cxnChg chg="mod">
          <ac:chgData name="Philipp Theile | EWI" userId="389f5144-a239-4438-b72c-100d5483c819" providerId="ADAL" clId="{5300C5ED-ECCF-4D12-B1A0-61D9C8C9B9A2}" dt="2021-09-05T15:55:46.258" v="434"/>
          <ac:cxnSpMkLst>
            <pc:docMk/>
            <pc:sldMk cId="860825555" sldId="282"/>
            <ac:cxnSpMk id="96" creationId="{C6A41922-D7A1-43ED-89CE-7C13FBDD6FFE}"/>
          </ac:cxnSpMkLst>
        </pc:cxnChg>
        <pc:cxnChg chg="mod">
          <ac:chgData name="Philipp Theile | EWI" userId="389f5144-a239-4438-b72c-100d5483c819" providerId="ADAL" clId="{5300C5ED-ECCF-4D12-B1A0-61D9C8C9B9A2}" dt="2021-09-05T15:55:46.258" v="434"/>
          <ac:cxnSpMkLst>
            <pc:docMk/>
            <pc:sldMk cId="860825555" sldId="282"/>
            <ac:cxnSpMk id="99" creationId="{4BD8C606-102D-4C44-BD7D-9C5F39ACDD5B}"/>
          </ac:cxnSpMkLst>
        </pc:cxnChg>
      </pc:sldChg>
      <pc:sldChg chg="delSp modSp mod delAnim modAnim modNotesTx">
        <pc:chgData name="Philipp Theile | EWI" userId="389f5144-a239-4438-b72c-100d5483c819" providerId="ADAL" clId="{5300C5ED-ECCF-4D12-B1A0-61D9C8C9B9A2}" dt="2021-09-07T06:33:47.549" v="4210"/>
        <pc:sldMkLst>
          <pc:docMk/>
          <pc:sldMk cId="3914249682" sldId="283"/>
        </pc:sldMkLst>
        <pc:spChg chg="mod">
          <ac:chgData name="Philipp Theile | EWI" userId="389f5144-a239-4438-b72c-100d5483c819" providerId="ADAL" clId="{5300C5ED-ECCF-4D12-B1A0-61D9C8C9B9A2}" dt="2021-09-05T16:14:25.358" v="1158" actId="20577"/>
          <ac:spMkLst>
            <pc:docMk/>
            <pc:sldMk cId="3914249682" sldId="283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5300C5ED-ECCF-4D12-B1A0-61D9C8C9B9A2}" dt="2021-09-05T16:12:43.175" v="1062"/>
          <ac:spMkLst>
            <pc:docMk/>
            <pc:sldMk cId="3914249682" sldId="283"/>
            <ac:spMk id="8" creationId="{2D4A4350-37AF-4069-9F4B-88D8AFEFCE79}"/>
          </ac:spMkLst>
        </pc:spChg>
        <pc:spChg chg="mod">
          <ac:chgData name="Philipp Theile | EWI" userId="389f5144-a239-4438-b72c-100d5483c819" providerId="ADAL" clId="{5300C5ED-ECCF-4D12-B1A0-61D9C8C9B9A2}" dt="2021-09-05T16:12:53.458" v="1065"/>
          <ac:spMkLst>
            <pc:docMk/>
            <pc:sldMk cId="3914249682" sldId="283"/>
            <ac:spMk id="9" creationId="{698D3F08-E543-41B3-A777-1ADE77648689}"/>
          </ac:spMkLst>
        </pc:spChg>
        <pc:spChg chg="mod">
          <ac:chgData name="Philipp Theile | EWI" userId="389f5144-a239-4438-b72c-100d5483c819" providerId="ADAL" clId="{5300C5ED-ECCF-4D12-B1A0-61D9C8C9B9A2}" dt="2021-09-05T16:13:57.325" v="1121" actId="20577"/>
          <ac:spMkLst>
            <pc:docMk/>
            <pc:sldMk cId="3914249682" sldId="283"/>
            <ac:spMk id="11" creationId="{769EDDEB-9A52-490C-A7FB-005B6AB4DEF9}"/>
          </ac:spMkLst>
        </pc:spChg>
        <pc:spChg chg="mod">
          <ac:chgData name="Philipp Theile | EWI" userId="389f5144-a239-4438-b72c-100d5483c819" providerId="ADAL" clId="{5300C5ED-ECCF-4D12-B1A0-61D9C8C9B9A2}" dt="2021-09-05T16:14:09.258" v="1148" actId="20577"/>
          <ac:spMkLst>
            <pc:docMk/>
            <pc:sldMk cId="3914249682" sldId="283"/>
            <ac:spMk id="12" creationId="{F23EE5BE-6654-4DD5-AD3D-C1781E68216C}"/>
          </ac:spMkLst>
        </pc:spChg>
        <pc:spChg chg="del">
          <ac:chgData name="Philipp Theile | EWI" userId="389f5144-a239-4438-b72c-100d5483c819" providerId="ADAL" clId="{5300C5ED-ECCF-4D12-B1A0-61D9C8C9B9A2}" dt="2021-09-05T16:14:13.959" v="1149" actId="478"/>
          <ac:spMkLst>
            <pc:docMk/>
            <pc:sldMk cId="3914249682" sldId="283"/>
            <ac:spMk id="70" creationId="{82AB33D9-59F3-4AB5-8ED1-0FC0027D2498}"/>
          </ac:spMkLst>
        </pc:spChg>
        <pc:spChg chg="del">
          <ac:chgData name="Philipp Theile | EWI" userId="389f5144-a239-4438-b72c-100d5483c819" providerId="ADAL" clId="{5300C5ED-ECCF-4D12-B1A0-61D9C8C9B9A2}" dt="2021-09-05T16:14:14.891" v="1150" actId="478"/>
          <ac:spMkLst>
            <pc:docMk/>
            <pc:sldMk cId="3914249682" sldId="283"/>
            <ac:spMk id="72" creationId="{2F82C6B2-2961-4279-8938-58C127213C8C}"/>
          </ac:spMkLst>
        </pc:spChg>
        <pc:grpChg chg="mod">
          <ac:chgData name="Philipp Theile | EWI" userId="389f5144-a239-4438-b72c-100d5483c819" providerId="ADAL" clId="{5300C5ED-ECCF-4D12-B1A0-61D9C8C9B9A2}" dt="2021-09-05T16:12:49.689" v="1064" actId="1076"/>
          <ac:grpSpMkLst>
            <pc:docMk/>
            <pc:sldMk cId="3914249682" sldId="283"/>
            <ac:grpSpMk id="20" creationId="{61A147C0-4308-44D5-B48C-5E57673F773A}"/>
          </ac:grpSpMkLst>
        </pc:grpChg>
      </pc:sldChg>
      <pc:sldChg chg="addSp delSp modSp mod delAnim modNotesTx">
        <pc:chgData name="Philipp Theile | EWI" userId="389f5144-a239-4438-b72c-100d5483c819" providerId="ADAL" clId="{5300C5ED-ECCF-4D12-B1A0-61D9C8C9B9A2}" dt="2021-09-06T16:27:57.257" v="3746" actId="20577"/>
        <pc:sldMkLst>
          <pc:docMk/>
          <pc:sldMk cId="794490125" sldId="284"/>
        </pc:sldMkLst>
        <pc:spChg chg="mod">
          <ac:chgData name="Philipp Theile | EWI" userId="389f5144-a239-4438-b72c-100d5483c819" providerId="ADAL" clId="{5300C5ED-ECCF-4D12-B1A0-61D9C8C9B9A2}" dt="2021-09-05T16:30:13.306" v="1587" actId="20577"/>
          <ac:spMkLst>
            <pc:docMk/>
            <pc:sldMk cId="794490125" sldId="284"/>
            <ac:spMk id="3" creationId="{00000000-0000-0000-0000-000000000000}"/>
          </ac:spMkLst>
        </pc:spChg>
        <pc:spChg chg="mod">
          <ac:chgData name="Philipp Theile | EWI" userId="389f5144-a239-4438-b72c-100d5483c819" providerId="ADAL" clId="{5300C5ED-ECCF-4D12-B1A0-61D9C8C9B9A2}" dt="2021-09-05T16:36:24.659" v="1595" actId="14100"/>
          <ac:spMkLst>
            <pc:docMk/>
            <pc:sldMk cId="794490125" sldId="284"/>
            <ac:spMk id="13" creationId="{D5AAAEE1-2FE5-45B7-B75D-3F851C79A9A0}"/>
          </ac:spMkLst>
        </pc:spChg>
        <pc:spChg chg="mod">
          <ac:chgData name="Philipp Theile | EWI" userId="389f5144-a239-4438-b72c-100d5483c819" providerId="ADAL" clId="{5300C5ED-ECCF-4D12-B1A0-61D9C8C9B9A2}" dt="2021-09-05T16:37:07.795" v="1687" actId="20577"/>
          <ac:spMkLst>
            <pc:docMk/>
            <pc:sldMk cId="794490125" sldId="284"/>
            <ac:spMk id="19" creationId="{3AE35D18-080A-4F5B-AFF0-1B488A9FEB73}"/>
          </ac:spMkLst>
        </pc:spChg>
        <pc:picChg chg="add mod">
          <ac:chgData name="Philipp Theile | EWI" userId="389f5144-a239-4438-b72c-100d5483c819" providerId="ADAL" clId="{5300C5ED-ECCF-4D12-B1A0-61D9C8C9B9A2}" dt="2021-09-05T16:36:01.200" v="1591" actId="1076"/>
          <ac:picMkLst>
            <pc:docMk/>
            <pc:sldMk cId="794490125" sldId="284"/>
            <ac:picMk id="5" creationId="{BE6D0801-FA25-4A79-9F1C-3082A049C64C}"/>
          </ac:picMkLst>
        </pc:picChg>
        <pc:picChg chg="del">
          <ac:chgData name="Philipp Theile | EWI" userId="389f5144-a239-4438-b72c-100d5483c819" providerId="ADAL" clId="{5300C5ED-ECCF-4D12-B1A0-61D9C8C9B9A2}" dt="2021-09-05T16:30:16.146" v="1589" actId="478"/>
          <ac:picMkLst>
            <pc:docMk/>
            <pc:sldMk cId="794490125" sldId="284"/>
            <ac:picMk id="7" creationId="{B5734A0A-D286-4A4F-A73F-D9A867332CFD}"/>
          </ac:picMkLst>
        </pc:picChg>
        <pc:picChg chg="del">
          <ac:chgData name="Philipp Theile | EWI" userId="389f5144-a239-4438-b72c-100d5483c819" providerId="ADAL" clId="{5300C5ED-ECCF-4D12-B1A0-61D9C8C9B9A2}" dt="2021-09-05T16:30:15.458" v="1588" actId="478"/>
          <ac:picMkLst>
            <pc:docMk/>
            <pc:sldMk cId="794490125" sldId="284"/>
            <ac:picMk id="8" creationId="{3E07A3D5-2F5B-49B3-A906-A0EFBB397628}"/>
          </ac:picMkLst>
        </pc:picChg>
      </pc:sldChg>
      <pc:sldChg chg="del">
        <pc:chgData name="Philipp Theile | EWI" userId="389f5144-a239-4438-b72c-100d5483c819" providerId="ADAL" clId="{5300C5ED-ECCF-4D12-B1A0-61D9C8C9B9A2}" dt="2021-09-06T16:41:17.258" v="4190" actId="47"/>
        <pc:sldMkLst>
          <pc:docMk/>
          <pc:sldMk cId="2318833528" sldId="286"/>
        </pc:sldMkLst>
      </pc:sldChg>
      <pc:sldChg chg="del">
        <pc:chgData name="Philipp Theile | EWI" userId="389f5144-a239-4438-b72c-100d5483c819" providerId="ADAL" clId="{5300C5ED-ECCF-4D12-B1A0-61D9C8C9B9A2}" dt="2021-09-06T16:41:36.775" v="4197" actId="47"/>
        <pc:sldMkLst>
          <pc:docMk/>
          <pc:sldMk cId="3592637296" sldId="287"/>
        </pc:sldMkLst>
      </pc:sldChg>
      <pc:sldChg chg="modSp mod">
        <pc:chgData name="Philipp Theile | EWI" userId="389f5144-a239-4438-b72c-100d5483c819" providerId="ADAL" clId="{5300C5ED-ECCF-4D12-B1A0-61D9C8C9B9A2}" dt="2021-09-06T16:16:21.123" v="2552" actId="20577"/>
        <pc:sldMkLst>
          <pc:docMk/>
          <pc:sldMk cId="850534046" sldId="288"/>
        </pc:sldMkLst>
        <pc:spChg chg="mod">
          <ac:chgData name="Philipp Theile | EWI" userId="389f5144-a239-4438-b72c-100d5483c819" providerId="ADAL" clId="{5300C5ED-ECCF-4D12-B1A0-61D9C8C9B9A2}" dt="2021-09-06T16:16:21.123" v="2552" actId="20577"/>
          <ac:spMkLst>
            <pc:docMk/>
            <pc:sldMk cId="850534046" sldId="288"/>
            <ac:spMk id="3" creationId="{7039E282-F6C2-435B-B9B8-8E01BEDAC83E}"/>
          </ac:spMkLst>
        </pc:spChg>
      </pc:sldChg>
      <pc:sldChg chg="modSp mod modNotesTx">
        <pc:chgData name="Philipp Theile | EWI" userId="389f5144-a239-4438-b72c-100d5483c819" providerId="ADAL" clId="{5300C5ED-ECCF-4D12-B1A0-61D9C8C9B9A2}" dt="2021-09-06T16:40:56.158" v="4186"/>
        <pc:sldMkLst>
          <pc:docMk/>
          <pc:sldMk cId="430598168" sldId="291"/>
        </pc:sldMkLst>
        <pc:spChg chg="mod">
          <ac:chgData name="Philipp Theile | EWI" userId="389f5144-a239-4438-b72c-100d5483c819" providerId="ADAL" clId="{5300C5ED-ECCF-4D12-B1A0-61D9C8C9B9A2}" dt="2021-09-05T16:27:15.873" v="1406" actId="20577"/>
          <ac:spMkLst>
            <pc:docMk/>
            <pc:sldMk cId="430598168" sldId="291"/>
            <ac:spMk id="5" creationId="{68B29226-91B1-470A-BDE5-8C1185320BE6}"/>
          </ac:spMkLst>
        </pc:spChg>
        <pc:spChg chg="mod">
          <ac:chgData name="Philipp Theile | EWI" userId="389f5144-a239-4438-b72c-100d5483c819" providerId="ADAL" clId="{5300C5ED-ECCF-4D12-B1A0-61D9C8C9B9A2}" dt="2021-09-05T16:27:29.595" v="1407"/>
          <ac:spMkLst>
            <pc:docMk/>
            <pc:sldMk cId="430598168" sldId="291"/>
            <ac:spMk id="9" creationId="{8D28ADCA-F28E-4DFF-BBEF-1983C64D9201}"/>
          </ac:spMkLst>
        </pc:spChg>
        <pc:spChg chg="mod">
          <ac:chgData name="Philipp Theile | EWI" userId="389f5144-a239-4438-b72c-100d5483c819" providerId="ADAL" clId="{5300C5ED-ECCF-4D12-B1A0-61D9C8C9B9A2}" dt="2021-09-05T16:27:09.705" v="1383" actId="20577"/>
          <ac:spMkLst>
            <pc:docMk/>
            <pc:sldMk cId="430598168" sldId="291"/>
            <ac:spMk id="10" creationId="{7CCC38DE-7C18-4A45-ABDE-D032E2CF5782}"/>
          </ac:spMkLst>
        </pc:spChg>
        <pc:spChg chg="mod">
          <ac:chgData name="Philipp Theile | EWI" userId="389f5144-a239-4438-b72c-100d5483c819" providerId="ADAL" clId="{5300C5ED-ECCF-4D12-B1A0-61D9C8C9B9A2}" dt="2021-09-05T16:28:10.698" v="1426" actId="20577"/>
          <ac:spMkLst>
            <pc:docMk/>
            <pc:sldMk cId="430598168" sldId="291"/>
            <ac:spMk id="11" creationId="{F516DDB5-00F5-48D5-850B-4A3D693C7F93}"/>
          </ac:spMkLst>
        </pc:spChg>
        <pc:spChg chg="mod">
          <ac:chgData name="Philipp Theile | EWI" userId="389f5144-a239-4438-b72c-100d5483c819" providerId="ADAL" clId="{5300C5ED-ECCF-4D12-B1A0-61D9C8C9B9A2}" dt="2021-09-05T16:27:40.863" v="1421" actId="20577"/>
          <ac:spMkLst>
            <pc:docMk/>
            <pc:sldMk cId="430598168" sldId="291"/>
            <ac:spMk id="12" creationId="{CFCB241D-54E9-40B0-A815-1A0B842CEA49}"/>
          </ac:spMkLst>
        </pc:spChg>
      </pc:sldChg>
      <pc:sldChg chg="del ord">
        <pc:chgData name="Philipp Theile | EWI" userId="389f5144-a239-4438-b72c-100d5483c819" providerId="ADAL" clId="{5300C5ED-ECCF-4D12-B1A0-61D9C8C9B9A2}" dt="2021-09-06T16:41:07.892" v="4189" actId="47"/>
        <pc:sldMkLst>
          <pc:docMk/>
          <pc:sldMk cId="2952312592" sldId="292"/>
        </pc:sldMkLst>
      </pc:sldChg>
      <pc:sldChg chg="del">
        <pc:chgData name="Philipp Theile | EWI" userId="389f5144-a239-4438-b72c-100d5483c819" providerId="ADAL" clId="{5300C5ED-ECCF-4D12-B1A0-61D9C8C9B9A2}" dt="2021-09-06T16:41:18.541" v="4192" actId="47"/>
        <pc:sldMkLst>
          <pc:docMk/>
          <pc:sldMk cId="3430541151" sldId="295"/>
        </pc:sldMkLst>
      </pc:sldChg>
      <pc:sldChg chg="del">
        <pc:chgData name="Philipp Theile | EWI" userId="389f5144-a239-4438-b72c-100d5483c819" providerId="ADAL" clId="{5300C5ED-ECCF-4D12-B1A0-61D9C8C9B9A2}" dt="2021-09-06T16:41:19.092" v="4193" actId="47"/>
        <pc:sldMkLst>
          <pc:docMk/>
          <pc:sldMk cId="2062043571" sldId="296"/>
        </pc:sldMkLst>
      </pc:sldChg>
      <pc:sldChg chg="add del">
        <pc:chgData name="Philipp Theile | EWI" userId="389f5144-a239-4438-b72c-100d5483c819" providerId="ADAL" clId="{5300C5ED-ECCF-4D12-B1A0-61D9C8C9B9A2}" dt="2021-09-06T16:41:34.017" v="4196" actId="47"/>
        <pc:sldMkLst>
          <pc:docMk/>
          <pc:sldMk cId="968799664" sldId="298"/>
        </pc:sldMkLst>
      </pc:sldChg>
      <pc:sldChg chg="del">
        <pc:chgData name="Philipp Theile | EWI" userId="389f5144-a239-4438-b72c-100d5483c819" providerId="ADAL" clId="{5300C5ED-ECCF-4D12-B1A0-61D9C8C9B9A2}" dt="2021-09-06T16:41:19.492" v="4194" actId="47"/>
        <pc:sldMkLst>
          <pc:docMk/>
          <pc:sldMk cId="2094924365" sldId="299"/>
        </pc:sldMkLst>
      </pc:sldChg>
      <pc:sldChg chg="del">
        <pc:chgData name="Philipp Theile | EWI" userId="389f5144-a239-4438-b72c-100d5483c819" providerId="ADAL" clId="{5300C5ED-ECCF-4D12-B1A0-61D9C8C9B9A2}" dt="2021-09-06T16:41:17.929" v="4191" actId="47"/>
        <pc:sldMkLst>
          <pc:docMk/>
          <pc:sldMk cId="2060061955" sldId="303"/>
        </pc:sldMkLst>
      </pc:sldChg>
      <pc:sldChg chg="addSp delSp modSp new mod delAnim modAnim modNotesTx">
        <pc:chgData name="Philipp Theile | EWI" userId="389f5144-a239-4438-b72c-100d5483c819" providerId="ADAL" clId="{5300C5ED-ECCF-4D12-B1A0-61D9C8C9B9A2}" dt="2021-09-06T16:39:36.384" v="4174"/>
        <pc:sldMkLst>
          <pc:docMk/>
          <pc:sldMk cId="3324212930" sldId="307"/>
        </pc:sldMkLst>
        <pc:spChg chg="mod">
          <ac:chgData name="Philipp Theile | EWI" userId="389f5144-a239-4438-b72c-100d5483c819" providerId="ADAL" clId="{5300C5ED-ECCF-4D12-B1A0-61D9C8C9B9A2}" dt="2021-09-05T16:28:38.618" v="1500" actId="20577"/>
          <ac:spMkLst>
            <pc:docMk/>
            <pc:sldMk cId="3324212930" sldId="307"/>
            <ac:spMk id="2" creationId="{F51CB190-F893-44EF-A8FE-DC7B60674280}"/>
          </ac:spMkLst>
        </pc:spChg>
        <pc:spChg chg="del">
          <ac:chgData name="Philipp Theile | EWI" userId="389f5144-a239-4438-b72c-100d5483c819" providerId="ADAL" clId="{5300C5ED-ECCF-4D12-B1A0-61D9C8C9B9A2}" dt="2021-09-05T08:40:35.711" v="25"/>
          <ac:spMkLst>
            <pc:docMk/>
            <pc:sldMk cId="3324212930" sldId="307"/>
            <ac:spMk id="3" creationId="{8C6773D7-7E19-48AC-8E21-FA4C4B27EA60}"/>
          </ac:spMkLst>
        </pc:spChg>
        <pc:spChg chg="mod">
          <ac:chgData name="Philipp Theile | EWI" userId="389f5144-a239-4438-b72c-100d5483c819" providerId="ADAL" clId="{5300C5ED-ECCF-4D12-B1A0-61D9C8C9B9A2}" dt="2021-09-06T16:39:34.308" v="4173" actId="21"/>
          <ac:spMkLst>
            <pc:docMk/>
            <pc:sldMk cId="3324212930" sldId="307"/>
            <ac:spMk id="4" creationId="{4ABE04CE-644D-49FB-A645-B43B7FF16A0C}"/>
          </ac:spMkLst>
        </pc:spChg>
        <pc:spChg chg="add del mod">
          <ac:chgData name="Philipp Theile | EWI" userId="389f5144-a239-4438-b72c-100d5483c819" providerId="ADAL" clId="{5300C5ED-ECCF-4D12-B1A0-61D9C8C9B9A2}" dt="2021-09-05T08:52:09.255" v="30" actId="931"/>
          <ac:spMkLst>
            <pc:docMk/>
            <pc:sldMk cId="3324212930" sldId="307"/>
            <ac:spMk id="7" creationId="{6504C940-C1D1-4279-A0D7-D620116C56BD}"/>
          </ac:spMkLst>
        </pc:spChg>
        <pc:spChg chg="add del mod">
          <ac:chgData name="Philipp Theile | EWI" userId="389f5144-a239-4438-b72c-100d5483c819" providerId="ADAL" clId="{5300C5ED-ECCF-4D12-B1A0-61D9C8C9B9A2}" dt="2021-09-05T08:53:32.546" v="33"/>
          <ac:spMkLst>
            <pc:docMk/>
            <pc:sldMk cId="3324212930" sldId="307"/>
            <ac:spMk id="12" creationId="{18184296-1855-47A3-926A-3810C0622C45}"/>
          </ac:spMkLst>
        </pc:spChg>
        <pc:spChg chg="add mod">
          <ac:chgData name="Philipp Theile | EWI" userId="389f5144-a239-4438-b72c-100d5483c819" providerId="ADAL" clId="{5300C5ED-ECCF-4D12-B1A0-61D9C8C9B9A2}" dt="2021-09-05T15:31:01.492" v="184"/>
          <ac:spMkLst>
            <pc:docMk/>
            <pc:sldMk cId="3324212930" sldId="307"/>
            <ac:spMk id="15" creationId="{C7B33C24-A12B-4EE4-9AA4-ADB785D0A158}"/>
          </ac:spMkLst>
        </pc:spChg>
        <pc:spChg chg="add mod">
          <ac:chgData name="Philipp Theile | EWI" userId="389f5144-a239-4438-b72c-100d5483c819" providerId="ADAL" clId="{5300C5ED-ECCF-4D12-B1A0-61D9C8C9B9A2}" dt="2021-09-05T15:30:55.858" v="182" actId="1037"/>
          <ac:spMkLst>
            <pc:docMk/>
            <pc:sldMk cId="3324212930" sldId="307"/>
            <ac:spMk id="16" creationId="{EFF4454A-8B61-47F6-B6D9-E421585A3495}"/>
          </ac:spMkLst>
        </pc:spChg>
        <pc:graphicFrameChg chg="add del mod">
          <ac:chgData name="Philipp Theile | EWI" userId="389f5144-a239-4438-b72c-100d5483c819" providerId="ADAL" clId="{5300C5ED-ECCF-4D12-B1A0-61D9C8C9B9A2}" dt="2021-09-05T08:51:21.933" v="29" actId="478"/>
          <ac:graphicFrameMkLst>
            <pc:docMk/>
            <pc:sldMk cId="3324212930" sldId="307"/>
            <ac:graphicFrameMk id="8" creationId="{26263361-05D9-482B-9786-D9E5AB47D8E3}"/>
          </ac:graphicFrameMkLst>
        </pc:graphicFrameChg>
        <pc:picChg chg="add del mod">
          <ac:chgData name="Philipp Theile | EWI" userId="389f5144-a239-4438-b72c-100d5483c819" providerId="ADAL" clId="{5300C5ED-ECCF-4D12-B1A0-61D9C8C9B9A2}" dt="2021-09-05T08:40:41.129" v="27" actId="478"/>
          <ac:picMkLst>
            <pc:docMk/>
            <pc:sldMk cId="3324212930" sldId="307"/>
            <ac:picMk id="5" creationId="{4748631F-8ED9-441E-B1A2-7A841BDFF328}"/>
          </ac:picMkLst>
        </pc:picChg>
        <pc:picChg chg="add del mod">
          <ac:chgData name="Philipp Theile | EWI" userId="389f5144-a239-4438-b72c-100d5483c819" providerId="ADAL" clId="{5300C5ED-ECCF-4D12-B1A0-61D9C8C9B9A2}" dt="2021-09-05T08:52:12.469" v="32" actId="478"/>
          <ac:picMkLst>
            <pc:docMk/>
            <pc:sldMk cId="3324212930" sldId="307"/>
            <ac:picMk id="10" creationId="{B573F54B-CCBB-4A9B-8C98-57FBFFF4B2BA}"/>
          </ac:picMkLst>
        </pc:picChg>
        <pc:picChg chg="add mod">
          <ac:chgData name="Philipp Theile | EWI" userId="389f5144-a239-4438-b72c-100d5483c819" providerId="ADAL" clId="{5300C5ED-ECCF-4D12-B1A0-61D9C8C9B9A2}" dt="2021-09-05T15:31:12.430" v="190" actId="1037"/>
          <ac:picMkLst>
            <pc:docMk/>
            <pc:sldMk cId="3324212930" sldId="307"/>
            <ac:picMk id="14" creationId="{49CA5864-E05B-4AB5-82D3-3A19A5561C1D}"/>
          </ac:picMkLst>
        </pc:picChg>
        <pc:picChg chg="add mod">
          <ac:chgData name="Philipp Theile | EWI" userId="389f5144-a239-4438-b72c-100d5483c819" providerId="ADAL" clId="{5300C5ED-ECCF-4D12-B1A0-61D9C8C9B9A2}" dt="2021-09-05T15:31:12.430" v="190" actId="1037"/>
          <ac:picMkLst>
            <pc:docMk/>
            <pc:sldMk cId="3324212930" sldId="307"/>
            <ac:picMk id="18" creationId="{F729C67B-B441-4614-8859-82F79238A6F8}"/>
          </ac:picMkLst>
        </pc:picChg>
      </pc:sldChg>
      <pc:sldChg chg="addSp delSp modSp new mod delAnim modAnim modNotesTx">
        <pc:chgData name="Philipp Theile | EWI" userId="389f5144-a239-4438-b72c-100d5483c819" providerId="ADAL" clId="{5300C5ED-ECCF-4D12-B1A0-61D9C8C9B9A2}" dt="2021-09-06T16:40:41.191" v="4185"/>
        <pc:sldMkLst>
          <pc:docMk/>
          <pc:sldMk cId="3641625917" sldId="308"/>
        </pc:sldMkLst>
        <pc:spChg chg="mod">
          <ac:chgData name="Philipp Theile | EWI" userId="389f5144-a239-4438-b72c-100d5483c819" providerId="ADAL" clId="{5300C5ED-ECCF-4D12-B1A0-61D9C8C9B9A2}" dt="2021-09-05T16:28:47.001" v="1526" actId="20577"/>
          <ac:spMkLst>
            <pc:docMk/>
            <pc:sldMk cId="3641625917" sldId="308"/>
            <ac:spMk id="2" creationId="{6A7C20E8-686F-42AC-AF10-498E35DC8735}"/>
          </ac:spMkLst>
        </pc:spChg>
        <pc:spChg chg="del">
          <ac:chgData name="Philipp Theile | EWI" userId="389f5144-a239-4438-b72c-100d5483c819" providerId="ADAL" clId="{5300C5ED-ECCF-4D12-B1A0-61D9C8C9B9A2}" dt="2021-09-05T15:36:59.845" v="191"/>
          <ac:spMkLst>
            <pc:docMk/>
            <pc:sldMk cId="3641625917" sldId="308"/>
            <ac:spMk id="3" creationId="{EDB15AFB-C9A8-40B5-B105-A6888E70A3A2}"/>
          </ac:spMkLst>
        </pc:spChg>
        <pc:spChg chg="del">
          <ac:chgData name="Philipp Theile | EWI" userId="389f5144-a239-4438-b72c-100d5483c819" providerId="ADAL" clId="{5300C5ED-ECCF-4D12-B1A0-61D9C8C9B9A2}" dt="2021-09-05T15:37:04.190" v="192"/>
          <ac:spMkLst>
            <pc:docMk/>
            <pc:sldMk cId="3641625917" sldId="308"/>
            <ac:spMk id="4" creationId="{7359DA73-CEC2-4F52-BC46-BFA7EB6CD422}"/>
          </ac:spMkLst>
        </pc:spChg>
        <pc:spChg chg="add mod">
          <ac:chgData name="Philipp Theile | EWI" userId="389f5144-a239-4438-b72c-100d5483c819" providerId="ADAL" clId="{5300C5ED-ECCF-4D12-B1A0-61D9C8C9B9A2}" dt="2021-09-05T15:38:37.242" v="218" actId="1037"/>
          <ac:spMkLst>
            <pc:docMk/>
            <pc:sldMk cId="3641625917" sldId="308"/>
            <ac:spMk id="9" creationId="{999F371B-D8A0-4A8B-A40B-DA6DAE44588F}"/>
          </ac:spMkLst>
        </pc:spChg>
        <pc:spChg chg="add mod">
          <ac:chgData name="Philipp Theile | EWI" userId="389f5144-a239-4438-b72c-100d5483c819" providerId="ADAL" clId="{5300C5ED-ECCF-4D12-B1A0-61D9C8C9B9A2}" dt="2021-09-05T15:38:37.242" v="218" actId="1037"/>
          <ac:spMkLst>
            <pc:docMk/>
            <pc:sldMk cId="3641625917" sldId="308"/>
            <ac:spMk id="10" creationId="{272C7B63-9CB0-4AF1-B676-73CE96795990}"/>
          </ac:spMkLst>
        </pc:spChg>
        <pc:spChg chg="add del mod">
          <ac:chgData name="Philipp Theile | EWI" userId="389f5144-a239-4438-b72c-100d5483c819" providerId="ADAL" clId="{5300C5ED-ECCF-4D12-B1A0-61D9C8C9B9A2}" dt="2021-09-05T15:39:14.271" v="227" actId="478"/>
          <ac:spMkLst>
            <pc:docMk/>
            <pc:sldMk cId="3641625917" sldId="308"/>
            <ac:spMk id="11" creationId="{B12C173F-55E0-49AE-8ED3-7747D4FFC8BA}"/>
          </ac:spMkLst>
        </pc:spChg>
        <pc:spChg chg="add mod">
          <ac:chgData name="Philipp Theile | EWI" userId="389f5144-a239-4438-b72c-100d5483c819" providerId="ADAL" clId="{5300C5ED-ECCF-4D12-B1A0-61D9C8C9B9A2}" dt="2021-09-06T16:40:00.392" v="4184" actId="20577"/>
          <ac:spMkLst>
            <pc:docMk/>
            <pc:sldMk cId="3641625917" sldId="308"/>
            <ac:spMk id="12" creationId="{01357404-E534-465F-9A7B-EEAC9DF141E6}"/>
          </ac:spMkLst>
        </pc:spChg>
        <pc:picChg chg="add mod">
          <ac:chgData name="Philipp Theile | EWI" userId="389f5144-a239-4438-b72c-100d5483c819" providerId="ADAL" clId="{5300C5ED-ECCF-4D12-B1A0-61D9C8C9B9A2}" dt="2021-09-05T15:38:44.175" v="221"/>
          <ac:picMkLst>
            <pc:docMk/>
            <pc:sldMk cId="3641625917" sldId="308"/>
            <ac:picMk id="6" creationId="{9574177B-3CE2-4499-B0B4-CEFA341D7BFE}"/>
          </ac:picMkLst>
        </pc:picChg>
        <pc:picChg chg="add mod">
          <ac:chgData name="Philipp Theile | EWI" userId="389f5144-a239-4438-b72c-100d5483c819" providerId="ADAL" clId="{5300C5ED-ECCF-4D12-B1A0-61D9C8C9B9A2}" dt="2021-09-05T15:37:38.582" v="202" actId="1076"/>
          <ac:picMkLst>
            <pc:docMk/>
            <pc:sldMk cId="3641625917" sldId="308"/>
            <ac:picMk id="8" creationId="{9C32201C-791B-4850-A79A-72E7E932FE96}"/>
          </ac:picMkLst>
        </pc:picChg>
      </pc:sldChg>
      <pc:sldChg chg="modSp new del mod">
        <pc:chgData name="Philipp Theile | EWI" userId="389f5144-a239-4438-b72c-100d5483c819" providerId="ADAL" clId="{5300C5ED-ECCF-4D12-B1A0-61D9C8C9B9A2}" dt="2021-09-05T16:00:36.692" v="825" actId="47"/>
        <pc:sldMkLst>
          <pc:docMk/>
          <pc:sldMk cId="1897820353" sldId="309"/>
        </pc:sldMkLst>
        <pc:spChg chg="mod">
          <ac:chgData name="Philipp Theile | EWI" userId="389f5144-a239-4438-b72c-100d5483c819" providerId="ADAL" clId="{5300C5ED-ECCF-4D12-B1A0-61D9C8C9B9A2}" dt="2021-09-05T08:39:27.169" v="23" actId="20577"/>
          <ac:spMkLst>
            <pc:docMk/>
            <pc:sldMk cId="1897820353" sldId="309"/>
            <ac:spMk id="2" creationId="{2C1FC5BE-115A-4232-A9C2-E43734F35CC2}"/>
          </ac:spMkLst>
        </pc:spChg>
      </pc:sldChg>
      <pc:sldChg chg="del">
        <pc:chgData name="Philipp Theile | EWI" userId="389f5144-a239-4438-b72c-100d5483c819" providerId="ADAL" clId="{5300C5ED-ECCF-4D12-B1A0-61D9C8C9B9A2}" dt="2021-09-05T08:40:25.417" v="24"/>
        <pc:sldMkLst>
          <pc:docMk/>
          <pc:sldMk cId="674234491" sldId="310"/>
        </pc:sldMkLst>
      </pc:sldChg>
      <pc:sldChg chg="addSp delSp modSp new mod modAnim modNotesTx">
        <pc:chgData name="Philipp Theile | EWI" userId="389f5144-a239-4438-b72c-100d5483c819" providerId="ADAL" clId="{5300C5ED-ECCF-4D12-B1A0-61D9C8C9B9A2}" dt="2021-09-06T16:32:57.274" v="4145"/>
        <pc:sldMkLst>
          <pc:docMk/>
          <pc:sldMk cId="774694456" sldId="310"/>
        </pc:sldMkLst>
        <pc:spChg chg="mod">
          <ac:chgData name="Philipp Theile | EWI" userId="389f5144-a239-4438-b72c-100d5483c819" providerId="ADAL" clId="{5300C5ED-ECCF-4D12-B1A0-61D9C8C9B9A2}" dt="2021-09-05T15:25:13.025" v="57" actId="20577"/>
          <ac:spMkLst>
            <pc:docMk/>
            <pc:sldMk cId="774694456" sldId="310"/>
            <ac:spMk id="2" creationId="{6F698170-7CC9-4748-BCBD-4146B3B5A9E7}"/>
          </ac:spMkLst>
        </pc:spChg>
        <pc:spChg chg="del">
          <ac:chgData name="Philipp Theile | EWI" userId="389f5144-a239-4438-b72c-100d5483c819" providerId="ADAL" clId="{5300C5ED-ECCF-4D12-B1A0-61D9C8C9B9A2}" dt="2021-09-05T15:40:11.210" v="238" actId="478"/>
          <ac:spMkLst>
            <pc:docMk/>
            <pc:sldMk cId="774694456" sldId="310"/>
            <ac:spMk id="3" creationId="{52C53B29-1F18-46D0-8598-953DA9224360}"/>
          </ac:spMkLst>
        </pc:spChg>
        <pc:spChg chg="mod">
          <ac:chgData name="Philipp Theile | EWI" userId="389f5144-a239-4438-b72c-100d5483c819" providerId="ADAL" clId="{5300C5ED-ECCF-4D12-B1A0-61D9C8C9B9A2}" dt="2021-09-05T15:53:20.258" v="359" actId="14100"/>
          <ac:spMkLst>
            <pc:docMk/>
            <pc:sldMk cId="774694456" sldId="310"/>
            <ac:spMk id="4" creationId="{BAD5ECFE-5D2B-4AA8-816A-80F51E790B1F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5" creationId="{3D9A38C9-922E-4D27-AEF9-B5C76E0AE2ED}"/>
          </ac:spMkLst>
        </pc:spChg>
        <pc:spChg chg="add mod">
          <ac:chgData name="Philipp Theile | EWI" userId="389f5144-a239-4438-b72c-100d5483c819" providerId="ADAL" clId="{5300C5ED-ECCF-4D12-B1A0-61D9C8C9B9A2}" dt="2021-09-05T15:53:04.734" v="356" actId="1036"/>
          <ac:spMkLst>
            <pc:docMk/>
            <pc:sldMk cId="774694456" sldId="310"/>
            <ac:spMk id="6" creationId="{83FDC09B-027C-4711-A582-70432D942DB8}"/>
          </ac:spMkLst>
        </pc:spChg>
        <pc:spChg chg="add mod">
          <ac:chgData name="Philipp Theile | EWI" userId="389f5144-a239-4438-b72c-100d5483c819" providerId="ADAL" clId="{5300C5ED-ECCF-4D12-B1A0-61D9C8C9B9A2}" dt="2021-09-05T15:53:04.734" v="356" actId="1036"/>
          <ac:spMkLst>
            <pc:docMk/>
            <pc:sldMk cId="774694456" sldId="310"/>
            <ac:spMk id="7" creationId="{6925E73B-32A8-4C29-B8F8-0E6A70CCAC94}"/>
          </ac:spMkLst>
        </pc:spChg>
        <pc:spChg chg="add mod">
          <ac:chgData name="Philipp Theile | EWI" userId="389f5144-a239-4438-b72c-100d5483c819" providerId="ADAL" clId="{5300C5ED-ECCF-4D12-B1A0-61D9C8C9B9A2}" dt="2021-09-05T15:53:13.692" v="357" actId="207"/>
          <ac:spMkLst>
            <pc:docMk/>
            <pc:sldMk cId="774694456" sldId="310"/>
            <ac:spMk id="8" creationId="{C020043F-C078-41E8-B492-77D1A9E13D43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9" creationId="{BDFFF3AC-E65E-4CD6-90FB-BC1FCDC58C3D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10" creationId="{A9C5A624-6C87-4E76-8134-A7A71379B453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11" creationId="{277C4347-A0A4-4E21-B9F0-A3A9E19A6A19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12" creationId="{354A6DB2-9133-4821-897B-7A7485AD5EF7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13" creationId="{74366261-65A9-47D2-8964-AF9024082E48}"/>
          </ac:spMkLst>
        </pc:spChg>
        <pc:spChg chg="add mod">
          <ac:chgData name="Philipp Theile | EWI" userId="389f5144-a239-4438-b72c-100d5483c819" providerId="ADAL" clId="{5300C5ED-ECCF-4D12-B1A0-61D9C8C9B9A2}" dt="2021-09-05T15:53:31.290" v="367" actId="20577"/>
          <ac:spMkLst>
            <pc:docMk/>
            <pc:sldMk cId="774694456" sldId="310"/>
            <ac:spMk id="14" creationId="{1715EFCF-84A2-4E17-BB5A-355BDEC97FFB}"/>
          </ac:spMkLst>
        </pc:spChg>
        <pc:spChg chg="add mod">
          <ac:chgData name="Philipp Theile | EWI" userId="389f5144-a239-4438-b72c-100d5483c819" providerId="ADAL" clId="{5300C5ED-ECCF-4D12-B1A0-61D9C8C9B9A2}" dt="2021-09-05T15:53:32.892" v="368" actId="20577"/>
          <ac:spMkLst>
            <pc:docMk/>
            <pc:sldMk cId="774694456" sldId="310"/>
            <ac:spMk id="15" creationId="{BB3ECA54-D68A-46F3-80FE-0656CB9D43FA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16" creationId="{E4E6BA88-3538-42E0-9C50-AE031F11BCEE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17" creationId="{18F8945F-4E90-461E-94FC-E7A6770E2521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18" creationId="{8B8B4880-B49B-48CB-97D1-155903BC1267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19" creationId="{1E41C553-8A7D-45B8-B073-7BD02372742D}"/>
          </ac:spMkLst>
        </pc:spChg>
        <pc:spChg chg="add mod">
          <ac:chgData name="Philipp Theile | EWI" userId="389f5144-a239-4438-b72c-100d5483c819" providerId="ADAL" clId="{5300C5ED-ECCF-4D12-B1A0-61D9C8C9B9A2}" dt="2021-09-05T15:53:46.591" v="372" actId="20577"/>
          <ac:spMkLst>
            <pc:docMk/>
            <pc:sldMk cId="774694456" sldId="310"/>
            <ac:spMk id="20" creationId="{2B9DB5FD-BFE0-4225-98ED-21DCE4C9B49C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21" creationId="{189B93C3-68D5-44EB-A0F7-74CE3D8372AA}"/>
          </ac:spMkLst>
        </pc:spChg>
        <pc:spChg chg="add mod">
          <ac:chgData name="Philipp Theile | EWI" userId="389f5144-a239-4438-b72c-100d5483c819" providerId="ADAL" clId="{5300C5ED-ECCF-4D12-B1A0-61D9C8C9B9A2}" dt="2021-09-05T15:53:26.731" v="366" actId="1036"/>
          <ac:spMkLst>
            <pc:docMk/>
            <pc:sldMk cId="774694456" sldId="310"/>
            <ac:spMk id="22" creationId="{E287C21D-1AA0-4224-A780-84FEA5DE77EC}"/>
          </ac:spMkLst>
        </pc:spChg>
      </pc:sldChg>
      <pc:sldChg chg="del">
        <pc:chgData name="Philipp Theile | EWI" userId="389f5144-a239-4438-b72c-100d5483c819" providerId="ADAL" clId="{5300C5ED-ECCF-4D12-B1A0-61D9C8C9B9A2}" dt="2021-09-05T15:25:03.475" v="38" actId="47"/>
        <pc:sldMkLst>
          <pc:docMk/>
          <pc:sldMk cId="1148102308" sldId="310"/>
        </pc:sldMkLst>
      </pc:sldChg>
      <pc:sldMasterChg chg="delSldLayout modSldLayout">
        <pc:chgData name="Philipp Theile | EWI" userId="389f5144-a239-4438-b72c-100d5483c819" providerId="ADAL" clId="{5300C5ED-ECCF-4D12-B1A0-61D9C8C9B9A2}" dt="2021-09-05T16:17:32.011" v="1309" actId="20577"/>
        <pc:sldMasterMkLst>
          <pc:docMk/>
          <pc:sldMasterMk cId="2796321052" sldId="2147483665"/>
        </pc:sldMasterMkLst>
        <pc:sldLayoutChg chg="modSp mod">
          <pc:chgData name="Philipp Theile | EWI" userId="389f5144-a239-4438-b72c-100d5483c819" providerId="ADAL" clId="{5300C5ED-ECCF-4D12-B1A0-61D9C8C9B9A2}" dt="2021-09-05T16:17:32.011" v="1309" actId="20577"/>
          <pc:sldLayoutMkLst>
            <pc:docMk/>
            <pc:sldMasterMk cId="2796321052" sldId="2147483665"/>
            <pc:sldLayoutMk cId="2143465567" sldId="2147483667"/>
          </pc:sldLayoutMkLst>
          <pc:spChg chg="mod">
            <ac:chgData name="Philipp Theile | EWI" userId="389f5144-a239-4438-b72c-100d5483c819" providerId="ADAL" clId="{5300C5ED-ECCF-4D12-B1A0-61D9C8C9B9A2}" dt="2021-09-05T16:17:32.011" v="1309" actId="20577"/>
            <ac:spMkLst>
              <pc:docMk/>
              <pc:sldMasterMk cId="2796321052" sldId="2147483665"/>
              <pc:sldLayoutMk cId="2143465567" sldId="2147483667"/>
              <ac:spMk id="9" creationId="{00000000-0000-0000-0000-000000000000}"/>
            </ac:spMkLst>
          </pc:spChg>
        </pc:sldLayoutChg>
        <pc:sldLayoutChg chg="del">
          <pc:chgData name="Philipp Theile | EWI" userId="389f5144-a239-4438-b72c-100d5483c819" providerId="ADAL" clId="{5300C5ED-ECCF-4D12-B1A0-61D9C8C9B9A2}" dt="2021-09-05T15:25:03.475" v="38" actId="47"/>
          <pc:sldLayoutMkLst>
            <pc:docMk/>
            <pc:sldMasterMk cId="2796321052" sldId="2147483665"/>
            <pc:sldLayoutMk cId="2580158878" sldId="2147483678"/>
          </pc:sldLayoutMkLst>
        </pc:sldLayoutChg>
      </pc:sldMasterChg>
    </pc:docChg>
  </pc:docChgLst>
  <pc:docChgLst>
    <pc:chgData name="David Schlund | EWI" userId="S::david.schlund@ewi.uni-koeln.de::00272c2a-d16f-4eb8-86ba-c28bcace438c" providerId="AD" clId="Web-{3F2292F8-3143-E6FA-DD1B-E085CB3703E4}"/>
    <pc:docChg chg="modSld">
      <pc:chgData name="David Schlund | EWI" userId="S::david.schlund@ewi.uni-koeln.de::00272c2a-d16f-4eb8-86ba-c28bcace438c" providerId="AD" clId="Web-{3F2292F8-3143-E6FA-DD1B-E085CB3703E4}" dt="2021-04-20T07:45:47.427" v="182" actId="20577"/>
      <pc:docMkLst>
        <pc:docMk/>
      </pc:docMkLst>
      <pc:sldChg chg="addSp modSp">
        <pc:chgData name="David Schlund | EWI" userId="S::david.schlund@ewi.uni-koeln.de::00272c2a-d16f-4eb8-86ba-c28bcace438c" providerId="AD" clId="Web-{3F2292F8-3143-E6FA-DD1B-E085CB3703E4}" dt="2021-04-20T07:45:47.427" v="182" actId="20577"/>
        <pc:sldMkLst>
          <pc:docMk/>
          <pc:sldMk cId="2423556196" sldId="260"/>
        </pc:sldMkLst>
        <pc:spChg chg="mod">
          <ac:chgData name="David Schlund | EWI" userId="S::david.schlund@ewi.uni-koeln.de::00272c2a-d16f-4eb8-86ba-c28bcace438c" providerId="AD" clId="Web-{3F2292F8-3143-E6FA-DD1B-E085CB3703E4}" dt="2021-04-20T07:45:47.427" v="182" actId="20577"/>
          <ac:spMkLst>
            <pc:docMk/>
            <pc:sldMk cId="2423556196" sldId="260"/>
            <ac:spMk id="3" creationId="{00000000-0000-0000-0000-000000000000}"/>
          </ac:spMkLst>
        </pc:spChg>
        <pc:spChg chg="add mod">
          <ac:chgData name="David Schlund | EWI" userId="S::david.schlund@ewi.uni-koeln.de::00272c2a-d16f-4eb8-86ba-c28bcace438c" providerId="AD" clId="Web-{3F2292F8-3143-E6FA-DD1B-E085CB3703E4}" dt="2021-04-20T07:43:43.167" v="171" actId="20577"/>
          <ac:spMkLst>
            <pc:docMk/>
            <pc:sldMk cId="2423556196" sldId="260"/>
            <ac:spMk id="5" creationId="{018F392C-ABE4-41CF-A2C4-AF98A81F2B9B}"/>
          </ac:spMkLst>
        </pc:spChg>
      </pc:sldChg>
      <pc:sldChg chg="addSp delSp modSp">
        <pc:chgData name="David Schlund | EWI" userId="S::david.schlund@ewi.uni-koeln.de::00272c2a-d16f-4eb8-86ba-c28bcace438c" providerId="AD" clId="Web-{3F2292F8-3143-E6FA-DD1B-E085CB3703E4}" dt="2021-04-20T07:30:39.198" v="105" actId="1076"/>
        <pc:sldMkLst>
          <pc:docMk/>
          <pc:sldMk cId="3182278550" sldId="271"/>
        </pc:sldMkLst>
        <pc:spChg chg="add del mod">
          <ac:chgData name="David Schlund | EWI" userId="S::david.schlund@ewi.uni-koeln.de::00272c2a-d16f-4eb8-86ba-c28bcace438c" providerId="AD" clId="Web-{3F2292F8-3143-E6FA-DD1B-E085CB3703E4}" dt="2021-04-20T07:30:33.635" v="103"/>
          <ac:spMkLst>
            <pc:docMk/>
            <pc:sldMk cId="3182278550" sldId="271"/>
            <ac:spMk id="5" creationId="{92685700-323D-4669-9BDA-D6D8972DD0BE}"/>
          </ac:spMkLst>
        </pc:spChg>
        <pc:spChg chg="mod topLvl">
          <ac:chgData name="David Schlund | EWI" userId="S::david.schlund@ewi.uni-koeln.de::00272c2a-d16f-4eb8-86ba-c28bcace438c" providerId="AD" clId="Web-{3F2292F8-3143-E6FA-DD1B-E085CB3703E4}" dt="2021-04-20T07:28:30.344" v="61"/>
          <ac:spMkLst>
            <pc:docMk/>
            <pc:sldMk cId="3182278550" sldId="271"/>
            <ac:spMk id="14" creationId="{53E117A4-58AE-4960-B459-8A34AAC0E368}"/>
          </ac:spMkLst>
        </pc:spChg>
        <pc:spChg chg="mod topLvl">
          <ac:chgData name="David Schlund | EWI" userId="S::david.schlund@ewi.uni-koeln.de::00272c2a-d16f-4eb8-86ba-c28bcace438c" providerId="AD" clId="Web-{3F2292F8-3143-E6FA-DD1B-E085CB3703E4}" dt="2021-04-20T07:28:30.344" v="61"/>
          <ac:spMkLst>
            <pc:docMk/>
            <pc:sldMk cId="3182278550" sldId="271"/>
            <ac:spMk id="15" creationId="{50A0B1FA-7E49-4545-BFB3-307B321FBB24}"/>
          </ac:spMkLst>
        </pc:spChg>
        <pc:spChg chg="mod">
          <ac:chgData name="David Schlund | EWI" userId="S::david.schlund@ewi.uni-koeln.de::00272c2a-d16f-4eb8-86ba-c28bcace438c" providerId="AD" clId="Web-{3F2292F8-3143-E6FA-DD1B-E085CB3703E4}" dt="2021-04-20T07:30:36.073" v="104" actId="1076"/>
          <ac:spMkLst>
            <pc:docMk/>
            <pc:sldMk cId="3182278550" sldId="271"/>
            <ac:spMk id="25" creationId="{D2E4CA28-9085-49C1-908F-2493EEDBA0B5}"/>
          </ac:spMkLst>
        </pc:spChg>
        <pc:grpChg chg="add mod">
          <ac:chgData name="David Schlund | EWI" userId="S::david.schlund@ewi.uni-koeln.de::00272c2a-d16f-4eb8-86ba-c28bcace438c" providerId="AD" clId="Web-{3F2292F8-3143-E6FA-DD1B-E085CB3703E4}" dt="2021-04-20T07:30:39.198" v="105" actId="1076"/>
          <ac:grpSpMkLst>
            <pc:docMk/>
            <pc:sldMk cId="3182278550" sldId="271"/>
            <ac:grpSpMk id="4" creationId="{0B5E7174-E610-4BFA-8675-8F12CC22B517}"/>
          </ac:grpSpMkLst>
        </pc:grpChg>
        <pc:grpChg chg="add del">
          <ac:chgData name="David Schlund | EWI" userId="S::david.schlund@ewi.uni-koeln.de::00272c2a-d16f-4eb8-86ba-c28bcace438c" providerId="AD" clId="Web-{3F2292F8-3143-E6FA-DD1B-E085CB3703E4}" dt="2021-04-20T07:28:30.344" v="61"/>
          <ac:grpSpMkLst>
            <pc:docMk/>
            <pc:sldMk cId="3182278550" sldId="271"/>
            <ac:grpSpMk id="16" creationId="{12D60377-B139-4877-A434-E7CFE12DE07B}"/>
          </ac:grpSpMkLst>
        </pc:grpChg>
        <pc:grpChg chg="add del">
          <ac:chgData name="David Schlund | EWI" userId="S::david.schlund@ewi.uni-koeln.de::00272c2a-d16f-4eb8-86ba-c28bcace438c" providerId="AD" clId="Web-{3F2292F8-3143-E6FA-DD1B-E085CB3703E4}" dt="2021-04-20T07:28:30.344" v="62"/>
          <ac:grpSpMkLst>
            <pc:docMk/>
            <pc:sldMk cId="3182278550" sldId="271"/>
            <ac:grpSpMk id="17" creationId="{4B5B6772-A780-496E-8B5B-980831AB8BA7}"/>
          </ac:grpSpMkLst>
        </pc:grpChg>
        <pc:picChg chg="mod topLvl">
          <ac:chgData name="David Schlund | EWI" userId="S::david.schlund@ewi.uni-koeln.de::00272c2a-d16f-4eb8-86ba-c28bcace438c" providerId="AD" clId="Web-{3F2292F8-3143-E6FA-DD1B-E085CB3703E4}" dt="2021-04-20T07:28:30.344" v="62"/>
          <ac:picMkLst>
            <pc:docMk/>
            <pc:sldMk cId="3182278550" sldId="271"/>
            <ac:picMk id="6" creationId="{1F8DB669-7BC8-4552-821A-F2498C25196B}"/>
          </ac:picMkLst>
        </pc:picChg>
        <pc:picChg chg="mod topLvl">
          <ac:chgData name="David Schlund | EWI" userId="S::david.schlund@ewi.uni-koeln.de::00272c2a-d16f-4eb8-86ba-c28bcace438c" providerId="AD" clId="Web-{3F2292F8-3143-E6FA-DD1B-E085CB3703E4}" dt="2021-04-20T07:28:30.344" v="62"/>
          <ac:picMkLst>
            <pc:docMk/>
            <pc:sldMk cId="3182278550" sldId="271"/>
            <ac:picMk id="7" creationId="{AC9BDB6A-8770-46E9-ADC6-783C02684B1F}"/>
          </ac:picMkLst>
        </pc:picChg>
        <pc:picChg chg="mod topLvl">
          <ac:chgData name="David Schlund | EWI" userId="S::david.schlund@ewi.uni-koeln.de::00272c2a-d16f-4eb8-86ba-c28bcace438c" providerId="AD" clId="Web-{3F2292F8-3143-E6FA-DD1B-E085CB3703E4}" dt="2021-04-20T07:28:30.344" v="61"/>
          <ac:picMkLst>
            <pc:docMk/>
            <pc:sldMk cId="3182278550" sldId="271"/>
            <ac:picMk id="11" creationId="{F44A178E-F20C-4EB3-95FE-57AF31D08048}"/>
          </ac:picMkLst>
        </pc:picChg>
        <pc:picChg chg="mod topLvl">
          <ac:chgData name="David Schlund | EWI" userId="S::david.schlund@ewi.uni-koeln.de::00272c2a-d16f-4eb8-86ba-c28bcace438c" providerId="AD" clId="Web-{3F2292F8-3143-E6FA-DD1B-E085CB3703E4}" dt="2021-04-20T07:28:30.344" v="61"/>
          <ac:picMkLst>
            <pc:docMk/>
            <pc:sldMk cId="3182278550" sldId="271"/>
            <ac:picMk id="12" creationId="{19722060-6F7A-4B92-83F2-AE01721A3401}"/>
          </ac:picMkLst>
        </pc:picChg>
        <pc:cxnChg chg="mod topLvl">
          <ac:chgData name="David Schlund | EWI" userId="S::david.schlund@ewi.uni-koeln.de::00272c2a-d16f-4eb8-86ba-c28bcace438c" providerId="AD" clId="Web-{3F2292F8-3143-E6FA-DD1B-E085CB3703E4}" dt="2021-04-20T07:28:30.344" v="61"/>
          <ac:cxnSpMkLst>
            <pc:docMk/>
            <pc:sldMk cId="3182278550" sldId="271"/>
            <ac:cxnSpMk id="13" creationId="{857C2D20-FC04-4A76-8349-0E3CA5CF0789}"/>
          </ac:cxnSpMkLst>
        </pc:cxnChg>
      </pc:sldChg>
      <pc:sldChg chg="modSp">
        <pc:chgData name="David Schlund | EWI" userId="S::david.schlund@ewi.uni-koeln.de::00272c2a-d16f-4eb8-86ba-c28bcace438c" providerId="AD" clId="Web-{3F2292F8-3143-E6FA-DD1B-E085CB3703E4}" dt="2021-04-20T07:27:20.713" v="20" actId="20577"/>
        <pc:sldMkLst>
          <pc:docMk/>
          <pc:sldMk cId="1745899909" sldId="272"/>
        </pc:sldMkLst>
        <pc:spChg chg="mod">
          <ac:chgData name="David Schlund | EWI" userId="S::david.schlund@ewi.uni-koeln.de::00272c2a-d16f-4eb8-86ba-c28bcace438c" providerId="AD" clId="Web-{3F2292F8-3143-E6FA-DD1B-E085CB3703E4}" dt="2021-04-20T07:27:20.713" v="20" actId="20577"/>
          <ac:spMkLst>
            <pc:docMk/>
            <pc:sldMk cId="1745899909" sldId="272"/>
            <ac:spMk id="4" creationId="{7E6C13BE-E6DB-4C59-91CC-81A207C36EC8}"/>
          </ac:spMkLst>
        </pc:spChg>
      </pc:sldChg>
    </pc:docChg>
  </pc:docChgLst>
  <pc:docChgLst>
    <pc:chgData name="David Schlund | EWI" userId="S::david.schlund@ewi.uni-koeln.de::00272c2a-d16f-4eb8-86ba-c28bcace438c" providerId="AD" clId="Web-{99D9491D-C21F-4D43-BE90-8B635DA1316C}"/>
    <pc:docChg chg="addSld modSld modSection">
      <pc:chgData name="David Schlund | EWI" userId="S::david.schlund@ewi.uni-koeln.de::00272c2a-d16f-4eb8-86ba-c28bcace438c" providerId="AD" clId="Web-{99D9491D-C21F-4D43-BE90-8B635DA1316C}" dt="2021-04-21T06:48:06.263" v="779"/>
      <pc:docMkLst>
        <pc:docMk/>
      </pc:docMkLst>
      <pc:sldChg chg="addSp modSp">
        <pc:chgData name="David Schlund | EWI" userId="S::david.schlund@ewi.uni-koeln.de::00272c2a-d16f-4eb8-86ba-c28bcace438c" providerId="AD" clId="Web-{99D9491D-C21F-4D43-BE90-8B635DA1316C}" dt="2021-04-21T06:30:02.740" v="363"/>
        <pc:sldMkLst>
          <pc:docMk/>
          <pc:sldMk cId="2423556196" sldId="260"/>
        </pc:sldMkLst>
        <pc:spChg chg="mod">
          <ac:chgData name="David Schlund | EWI" userId="S::david.schlund@ewi.uni-koeln.de::00272c2a-d16f-4eb8-86ba-c28bcace438c" providerId="AD" clId="Web-{99D9491D-C21F-4D43-BE90-8B635DA1316C}" dt="2021-04-21T06:30:02.740" v="363"/>
          <ac:spMkLst>
            <pc:docMk/>
            <pc:sldMk cId="2423556196" sldId="260"/>
            <ac:spMk id="3" creationId="{00000000-0000-0000-0000-000000000000}"/>
          </ac:spMkLst>
        </pc:spChg>
        <pc:spChg chg="mod">
          <ac:chgData name="David Schlund | EWI" userId="S::david.schlund@ewi.uni-koeln.de::00272c2a-d16f-4eb8-86ba-c28bcace438c" providerId="AD" clId="Web-{99D9491D-C21F-4D43-BE90-8B635DA1316C}" dt="2021-04-21T06:27:01.707" v="73" actId="20577"/>
          <ac:spMkLst>
            <pc:docMk/>
            <pc:sldMk cId="2423556196" sldId="260"/>
            <ac:spMk id="4" creationId="{54D1BCFC-C60B-4F7C-8284-05CED1844E4E}"/>
          </ac:spMkLst>
        </pc:spChg>
        <pc:spChg chg="mod">
          <ac:chgData name="David Schlund | EWI" userId="S::david.schlund@ewi.uni-koeln.de::00272c2a-d16f-4eb8-86ba-c28bcace438c" providerId="AD" clId="Web-{99D9491D-C21F-4D43-BE90-8B635DA1316C}" dt="2021-04-21T06:27:04.457" v="74" actId="20577"/>
          <ac:spMkLst>
            <pc:docMk/>
            <pc:sldMk cId="2423556196" sldId="260"/>
            <ac:spMk id="6" creationId="{6F7D22F8-0604-414E-92B4-4096981DA794}"/>
          </ac:spMkLst>
        </pc:spChg>
        <pc:spChg chg="mod">
          <ac:chgData name="David Schlund | EWI" userId="S::david.schlund@ewi.uni-koeln.de::00272c2a-d16f-4eb8-86ba-c28bcace438c" providerId="AD" clId="Web-{99D9491D-C21F-4D43-BE90-8B635DA1316C}" dt="2021-04-21T06:27:08.129" v="75" actId="20577"/>
          <ac:spMkLst>
            <pc:docMk/>
            <pc:sldMk cId="2423556196" sldId="260"/>
            <ac:spMk id="7" creationId="{9C4C776D-D45B-4F44-8186-1EA31E3F288D}"/>
          </ac:spMkLst>
        </pc:spChg>
        <pc:spChg chg="add mod">
          <ac:chgData name="David Schlund | EWI" userId="S::david.schlund@ewi.uni-koeln.de::00272c2a-d16f-4eb8-86ba-c28bcace438c" providerId="AD" clId="Web-{99D9491D-C21F-4D43-BE90-8B635DA1316C}" dt="2021-04-21T06:27:16.879" v="87" actId="20577"/>
          <ac:spMkLst>
            <pc:docMk/>
            <pc:sldMk cId="2423556196" sldId="260"/>
            <ac:spMk id="12" creationId="{8A906294-AC06-4016-97CA-17C7F3953672}"/>
          </ac:spMkLst>
        </pc:spChg>
      </pc:sldChg>
      <pc:sldChg chg="addSp delSp modSp">
        <pc:chgData name="David Schlund | EWI" userId="S::david.schlund@ewi.uni-koeln.de::00272c2a-d16f-4eb8-86ba-c28bcace438c" providerId="AD" clId="Web-{99D9491D-C21F-4D43-BE90-8B635DA1316C}" dt="2021-04-21T06:40:02.884" v="373" actId="1076"/>
        <pc:sldMkLst>
          <pc:docMk/>
          <pc:sldMk cId="2323406534" sldId="264"/>
        </pc:sldMkLst>
        <pc:spChg chg="mod">
          <ac:chgData name="David Schlund | EWI" userId="S::david.schlund@ewi.uni-koeln.de::00272c2a-d16f-4eb8-86ba-c28bcace438c" providerId="AD" clId="Web-{99D9491D-C21F-4D43-BE90-8B635DA1316C}" dt="2021-04-21T06:39:40.244" v="370" actId="14100"/>
          <ac:spMkLst>
            <pc:docMk/>
            <pc:sldMk cId="2323406534" sldId="264"/>
            <ac:spMk id="3" creationId="{00000000-0000-0000-0000-000000000000}"/>
          </ac:spMkLst>
        </pc:spChg>
        <pc:spChg chg="del mod">
          <ac:chgData name="David Schlund | EWI" userId="S::david.schlund@ewi.uni-koeln.de::00272c2a-d16f-4eb8-86ba-c28bcace438c" providerId="AD" clId="Web-{99D9491D-C21F-4D43-BE90-8B635DA1316C}" dt="2021-04-21T06:39:25.618" v="367"/>
          <ac:spMkLst>
            <pc:docMk/>
            <pc:sldMk cId="2323406534" sldId="264"/>
            <ac:spMk id="4" creationId="{4692CDA9-6C13-4A4E-8E6B-9D4293ADCEC5}"/>
          </ac:spMkLst>
        </pc:spChg>
        <pc:spChg chg="mod">
          <ac:chgData name="David Schlund | EWI" userId="S::david.schlund@ewi.uni-koeln.de::00272c2a-d16f-4eb8-86ba-c28bcace438c" providerId="AD" clId="Web-{99D9491D-C21F-4D43-BE90-8B635DA1316C}" dt="2021-04-21T06:39:28.072" v="368" actId="1076"/>
          <ac:spMkLst>
            <pc:docMk/>
            <pc:sldMk cId="2323406534" sldId="264"/>
            <ac:spMk id="5" creationId="{0F5236C4-5BFF-4281-BAA9-C37B9C0DE401}"/>
          </ac:spMkLst>
        </pc:spChg>
        <pc:spChg chg="mod">
          <ac:chgData name="David Schlund | EWI" userId="S::david.schlund@ewi.uni-koeln.de::00272c2a-d16f-4eb8-86ba-c28bcace438c" providerId="AD" clId="Web-{99D9491D-C21F-4D43-BE90-8B635DA1316C}" dt="2021-04-21T06:39:58.587" v="371" actId="1076"/>
          <ac:spMkLst>
            <pc:docMk/>
            <pc:sldMk cId="2323406534" sldId="264"/>
            <ac:spMk id="6" creationId="{E1BB5B1B-DE79-4523-9078-F8E423A20DD8}"/>
          </ac:spMkLst>
        </pc:spChg>
        <pc:picChg chg="add mod">
          <ac:chgData name="David Schlund | EWI" userId="S::david.schlund@ewi.uni-koeln.de::00272c2a-d16f-4eb8-86ba-c28bcace438c" providerId="AD" clId="Web-{99D9491D-C21F-4D43-BE90-8B635DA1316C}" dt="2021-04-21T06:40:02.884" v="373" actId="1076"/>
          <ac:picMkLst>
            <pc:docMk/>
            <pc:sldMk cId="2323406534" sldId="264"/>
            <ac:picMk id="7" creationId="{7BCB6112-89B2-4F54-8521-FE9F78F3A7ED}"/>
          </ac:picMkLst>
        </pc:picChg>
      </pc:sldChg>
      <pc:sldChg chg="addSp delSp modSp add replId">
        <pc:chgData name="David Schlund | EWI" userId="S::david.schlund@ewi.uni-koeln.de::00272c2a-d16f-4eb8-86ba-c28bcace438c" providerId="AD" clId="Web-{99D9491D-C21F-4D43-BE90-8B635DA1316C}" dt="2021-04-21T06:48:06.263" v="779"/>
        <pc:sldMkLst>
          <pc:docMk/>
          <pc:sldMk cId="860825555" sldId="282"/>
        </pc:sldMkLst>
        <pc:spChg chg="mod">
          <ac:chgData name="David Schlund | EWI" userId="S::david.schlund@ewi.uni-koeln.de::00272c2a-d16f-4eb8-86ba-c28bcace438c" providerId="AD" clId="Web-{99D9491D-C21F-4D43-BE90-8B635DA1316C}" dt="2021-04-21T06:41:01.150" v="447" actId="20577"/>
          <ac:spMkLst>
            <pc:docMk/>
            <pc:sldMk cId="860825555" sldId="282"/>
            <ac:spMk id="3" creationId="{00000000-0000-0000-0000-000000000000}"/>
          </ac:spMkLst>
        </pc:spChg>
        <pc:spChg chg="add mod">
          <ac:chgData name="David Schlund | EWI" userId="S::david.schlund@ewi.uni-koeln.de::00272c2a-d16f-4eb8-86ba-c28bcace438c" providerId="AD" clId="Web-{99D9491D-C21F-4D43-BE90-8B635DA1316C}" dt="2021-04-21T06:47:13.012" v="756" actId="20577"/>
          <ac:spMkLst>
            <pc:docMk/>
            <pc:sldMk cId="860825555" sldId="282"/>
            <ac:spMk id="4" creationId="{D1F7C7F7-D2EE-4BDF-8D38-3162E4DA3948}"/>
          </ac:spMkLst>
        </pc:spChg>
        <pc:spChg chg="del">
          <ac:chgData name="David Schlund | EWI" userId="S::david.schlund@ewi.uni-koeln.de::00272c2a-d16f-4eb8-86ba-c28bcace438c" providerId="AD" clId="Web-{99D9491D-C21F-4D43-BE90-8B635DA1316C}" dt="2021-04-21T06:45:14.699" v="748"/>
          <ac:spMkLst>
            <pc:docMk/>
            <pc:sldMk cId="860825555" sldId="282"/>
            <ac:spMk id="5" creationId="{0F5236C4-5BFF-4281-BAA9-C37B9C0DE401}"/>
          </ac:spMkLst>
        </pc:spChg>
        <pc:graphicFrameChg chg="add del mod modGraphic">
          <ac:chgData name="David Schlund | EWI" userId="S::david.schlund@ewi.uni-koeln.de::00272c2a-d16f-4eb8-86ba-c28bcace438c" providerId="AD" clId="Web-{99D9491D-C21F-4D43-BE90-8B635DA1316C}" dt="2021-04-21T06:48:06.263" v="779"/>
          <ac:graphicFrameMkLst>
            <pc:docMk/>
            <pc:sldMk cId="860825555" sldId="282"/>
            <ac:graphicFrameMk id="10" creationId="{EF31C60A-32F3-4F86-9E76-F0741547FB81}"/>
          </ac:graphicFrameMkLst>
        </pc:graphicFrameChg>
        <pc:picChg chg="mod">
          <ac:chgData name="David Schlund | EWI" userId="S::david.schlund@ewi.uni-koeln.de::00272c2a-d16f-4eb8-86ba-c28bcace438c" providerId="AD" clId="Web-{99D9491D-C21F-4D43-BE90-8B635DA1316C}" dt="2021-04-21T06:43:30.464" v="587" actId="1076"/>
          <ac:picMkLst>
            <pc:docMk/>
            <pc:sldMk cId="860825555" sldId="282"/>
            <ac:picMk id="7" creationId="{7BCB6112-89B2-4F54-8521-FE9F78F3A7ED}"/>
          </ac:picMkLst>
        </pc:picChg>
        <pc:picChg chg="add mod">
          <ac:chgData name="David Schlund | EWI" userId="S::david.schlund@ewi.uni-koeln.de::00272c2a-d16f-4eb8-86ba-c28bcace438c" providerId="AD" clId="Web-{99D9491D-C21F-4D43-BE90-8B635DA1316C}" dt="2021-04-21T06:43:37.901" v="589" actId="1076"/>
          <ac:picMkLst>
            <pc:docMk/>
            <pc:sldMk cId="860825555" sldId="282"/>
            <ac:picMk id="9" creationId="{0E0A3FD3-2F47-4F78-B2E2-EAE0B7F3BA00}"/>
          </ac:picMkLst>
        </pc:picChg>
      </pc:sldChg>
    </pc:docChg>
  </pc:docChgLst>
  <pc:docChgLst>
    <pc:chgData name="Philipp Theile | EWI" userId="389f5144-a239-4438-b72c-100d5483c819" providerId="ADAL" clId="{F09E99D6-B178-4DB3-AECB-60DA0AEF7478}"/>
    <pc:docChg chg="undo redo custSel addSld delSld modSld sldOrd addSection modSection">
      <pc:chgData name="Philipp Theile | EWI" userId="389f5144-a239-4438-b72c-100d5483c819" providerId="ADAL" clId="{F09E99D6-B178-4DB3-AECB-60DA0AEF7478}" dt="2021-04-29T08:18:13.888" v="19590" actId="20577"/>
      <pc:docMkLst>
        <pc:docMk/>
      </pc:docMkLst>
      <pc:sldChg chg="modSp mod">
        <pc:chgData name="Philipp Theile | EWI" userId="389f5144-a239-4438-b72c-100d5483c819" providerId="ADAL" clId="{F09E99D6-B178-4DB3-AECB-60DA0AEF7478}" dt="2021-04-08T09:27:17.886" v="1775" actId="20577"/>
        <pc:sldMkLst>
          <pc:docMk/>
          <pc:sldMk cId="689659190" sldId="256"/>
        </pc:sldMkLst>
        <pc:spChg chg="mod">
          <ac:chgData name="Philipp Theile | EWI" userId="389f5144-a239-4438-b72c-100d5483c819" providerId="ADAL" clId="{F09E99D6-B178-4DB3-AECB-60DA0AEF7478}" dt="2021-04-08T09:26:45.422" v="1685" actId="20577"/>
          <ac:spMkLst>
            <pc:docMk/>
            <pc:sldMk cId="689659190" sldId="256"/>
            <ac:spMk id="4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08T09:27:17.886" v="1775" actId="20577"/>
          <ac:spMkLst>
            <pc:docMk/>
            <pc:sldMk cId="689659190" sldId="256"/>
            <ac:spMk id="5" creationId="{00000000-0000-0000-0000-000000000000}"/>
          </ac:spMkLst>
        </pc:spChg>
      </pc:sldChg>
      <pc:sldChg chg="modSp del mod">
        <pc:chgData name="Philipp Theile | EWI" userId="389f5144-a239-4438-b72c-100d5483c819" providerId="ADAL" clId="{F09E99D6-B178-4DB3-AECB-60DA0AEF7478}" dt="2021-04-19T09:34:48.892" v="2350" actId="2696"/>
        <pc:sldMkLst>
          <pc:docMk/>
          <pc:sldMk cId="296379702" sldId="257"/>
        </pc:sldMkLst>
        <pc:spChg chg="mod">
          <ac:chgData name="Philipp Theile | EWI" userId="389f5144-a239-4438-b72c-100d5483c819" providerId="ADAL" clId="{F09E99D6-B178-4DB3-AECB-60DA0AEF7478}" dt="2021-04-08T08:53:42.115" v="121" actId="20577"/>
          <ac:spMkLst>
            <pc:docMk/>
            <pc:sldMk cId="296379702" sldId="257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08T09:15:49.663" v="707" actId="20577"/>
          <ac:spMkLst>
            <pc:docMk/>
            <pc:sldMk cId="296379702" sldId="257"/>
            <ac:spMk id="3" creationId="{00000000-0000-0000-0000-000000000000}"/>
          </ac:spMkLst>
        </pc:spChg>
      </pc:sldChg>
      <pc:sldChg chg="add">
        <pc:chgData name="Philipp Theile | EWI" userId="389f5144-a239-4438-b72c-100d5483c819" providerId="ADAL" clId="{F09E99D6-B178-4DB3-AECB-60DA0AEF7478}" dt="2021-04-19T09:34:52.424" v="2351"/>
        <pc:sldMkLst>
          <pc:docMk/>
          <pc:sldMk cId="1856632572" sldId="257"/>
        </pc:sldMkLst>
      </pc:sldChg>
      <pc:sldChg chg="del">
        <pc:chgData name="Philipp Theile | EWI" userId="389f5144-a239-4438-b72c-100d5483c819" providerId="ADAL" clId="{F09E99D6-B178-4DB3-AECB-60DA0AEF7478}" dt="2021-04-08T09:25:47.970" v="1667" actId="47"/>
        <pc:sldMkLst>
          <pc:docMk/>
          <pc:sldMk cId="2363492739" sldId="258"/>
        </pc:sldMkLst>
      </pc:sldChg>
      <pc:sldChg chg="add">
        <pc:chgData name="Philipp Theile | EWI" userId="389f5144-a239-4438-b72c-100d5483c819" providerId="ADAL" clId="{F09E99D6-B178-4DB3-AECB-60DA0AEF7478}" dt="2021-04-19T09:34:52.424" v="2351"/>
        <pc:sldMkLst>
          <pc:docMk/>
          <pc:sldMk cId="990038531" sldId="259"/>
        </pc:sldMkLst>
      </pc:sldChg>
      <pc:sldChg chg="modSp add del mod">
        <pc:chgData name="Philipp Theile | EWI" userId="389f5144-a239-4438-b72c-100d5483c819" providerId="ADAL" clId="{F09E99D6-B178-4DB3-AECB-60DA0AEF7478}" dt="2021-04-19T09:34:48.892" v="2350" actId="2696"/>
        <pc:sldMkLst>
          <pc:docMk/>
          <pc:sldMk cId="2484752434" sldId="259"/>
        </pc:sldMkLst>
        <pc:spChg chg="mod">
          <ac:chgData name="Philipp Theile | EWI" userId="389f5144-a239-4438-b72c-100d5483c819" providerId="ADAL" clId="{F09E99D6-B178-4DB3-AECB-60DA0AEF7478}" dt="2021-04-08T08:53:54.402" v="139" actId="20577"/>
          <ac:spMkLst>
            <pc:docMk/>
            <pc:sldMk cId="2484752434" sldId="259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08T09:15:36.055" v="667"/>
          <ac:spMkLst>
            <pc:docMk/>
            <pc:sldMk cId="2484752434" sldId="259"/>
            <ac:spMk id="3" creationId="{00000000-0000-0000-0000-000000000000}"/>
          </ac:spMkLst>
        </pc:spChg>
      </pc:sldChg>
      <pc:sldChg chg="addSp delSp modSp add mod">
        <pc:chgData name="Philipp Theile | EWI" userId="389f5144-a239-4438-b72c-100d5483c819" providerId="ADAL" clId="{F09E99D6-B178-4DB3-AECB-60DA0AEF7478}" dt="2021-04-26T07:56:26.516" v="12483" actId="20577"/>
        <pc:sldMkLst>
          <pc:docMk/>
          <pc:sldMk cId="2423556196" sldId="260"/>
        </pc:sldMkLst>
        <pc:spChg chg="mod">
          <ac:chgData name="Philipp Theile | EWI" userId="389f5144-a239-4438-b72c-100d5483c819" providerId="ADAL" clId="{F09E99D6-B178-4DB3-AECB-60DA0AEF7478}" dt="2021-04-19T09:35:06.457" v="2376" actId="20577"/>
          <ac:spMkLst>
            <pc:docMk/>
            <pc:sldMk cId="2423556196" sldId="260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26T07:53:57.462" v="12471" actId="14100"/>
          <ac:spMkLst>
            <pc:docMk/>
            <pc:sldMk cId="2423556196" sldId="260"/>
            <ac:spMk id="3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21T06:36:16.073" v="7383" actId="207"/>
          <ac:spMkLst>
            <pc:docMk/>
            <pc:sldMk cId="2423556196" sldId="260"/>
            <ac:spMk id="4" creationId="{54D1BCFC-C60B-4F7C-8284-05CED1844E4E}"/>
          </ac:spMkLst>
        </pc:spChg>
        <pc:spChg chg="del">
          <ac:chgData name="Philipp Theile | EWI" userId="389f5144-a239-4438-b72c-100d5483c819" providerId="ADAL" clId="{F09E99D6-B178-4DB3-AECB-60DA0AEF7478}" dt="2021-04-21T09:28:44.364" v="8595" actId="478"/>
          <ac:spMkLst>
            <pc:docMk/>
            <pc:sldMk cId="2423556196" sldId="260"/>
            <ac:spMk id="5" creationId="{018F392C-ABE4-41CF-A2C4-AF98A81F2B9B}"/>
          </ac:spMkLst>
        </pc:spChg>
        <pc:spChg chg="mod">
          <ac:chgData name="Philipp Theile | EWI" userId="389f5144-a239-4438-b72c-100d5483c819" providerId="ADAL" clId="{F09E99D6-B178-4DB3-AECB-60DA0AEF7478}" dt="2021-04-21T06:36:06.779" v="7382" actId="207"/>
          <ac:spMkLst>
            <pc:docMk/>
            <pc:sldMk cId="2423556196" sldId="260"/>
            <ac:spMk id="6" creationId="{6F7D22F8-0604-414E-92B4-4096981DA794}"/>
          </ac:spMkLst>
        </pc:spChg>
        <pc:spChg chg="mod">
          <ac:chgData name="Philipp Theile | EWI" userId="389f5144-a239-4438-b72c-100d5483c819" providerId="ADAL" clId="{F09E99D6-B178-4DB3-AECB-60DA0AEF7478}" dt="2021-04-25T14:15:40.618" v="11019" actId="207"/>
          <ac:spMkLst>
            <pc:docMk/>
            <pc:sldMk cId="2423556196" sldId="260"/>
            <ac:spMk id="7" creationId="{9C4C776D-D45B-4F44-8186-1EA31E3F288D}"/>
          </ac:spMkLst>
        </pc:spChg>
        <pc:spChg chg="mod">
          <ac:chgData name="Philipp Theile | EWI" userId="389f5144-a239-4438-b72c-100d5483c819" providerId="ADAL" clId="{F09E99D6-B178-4DB3-AECB-60DA0AEF7478}" dt="2021-04-26T07:51:58.991" v="12467" actId="1038"/>
          <ac:spMkLst>
            <pc:docMk/>
            <pc:sldMk cId="2423556196" sldId="260"/>
            <ac:spMk id="8" creationId="{2E662CB9-7632-49DE-A413-88CFF9547CF7}"/>
          </ac:spMkLst>
        </pc:spChg>
        <pc:spChg chg="mod">
          <ac:chgData name="Philipp Theile | EWI" userId="389f5144-a239-4438-b72c-100d5483c819" providerId="ADAL" clId="{F09E99D6-B178-4DB3-AECB-60DA0AEF7478}" dt="2021-04-26T07:51:48.975" v="12435" actId="1037"/>
          <ac:spMkLst>
            <pc:docMk/>
            <pc:sldMk cId="2423556196" sldId="260"/>
            <ac:spMk id="9" creationId="{16FDFACD-23E9-458D-8486-0B4F0F277EAA}"/>
          </ac:spMkLst>
        </pc:spChg>
        <pc:spChg chg="mod">
          <ac:chgData name="Philipp Theile | EWI" userId="389f5144-a239-4438-b72c-100d5483c819" providerId="ADAL" clId="{F09E99D6-B178-4DB3-AECB-60DA0AEF7478}" dt="2021-04-26T07:51:08.982" v="12402" actId="1035"/>
          <ac:spMkLst>
            <pc:docMk/>
            <pc:sldMk cId="2423556196" sldId="260"/>
            <ac:spMk id="10" creationId="{D5C81A7A-495B-45C4-BDB5-8E2C43DEA87E}"/>
          </ac:spMkLst>
        </pc:spChg>
        <pc:spChg chg="mod">
          <ac:chgData name="Philipp Theile | EWI" userId="389f5144-a239-4438-b72c-100d5483c819" providerId="ADAL" clId="{F09E99D6-B178-4DB3-AECB-60DA0AEF7478}" dt="2021-04-26T07:51:08.982" v="12402" actId="1035"/>
          <ac:spMkLst>
            <pc:docMk/>
            <pc:sldMk cId="2423556196" sldId="260"/>
            <ac:spMk id="11" creationId="{A048582B-29E6-4827-A5FD-174175DC858C}"/>
          </ac:spMkLst>
        </pc:spChg>
        <pc:spChg chg="add del mod">
          <ac:chgData name="Philipp Theile | EWI" userId="389f5144-a239-4438-b72c-100d5483c819" providerId="ADAL" clId="{F09E99D6-B178-4DB3-AECB-60DA0AEF7478}" dt="2021-04-25T14:03:19.898" v="10660" actId="478"/>
          <ac:spMkLst>
            <pc:docMk/>
            <pc:sldMk cId="2423556196" sldId="260"/>
            <ac:spMk id="13" creationId="{A3386357-4789-4076-832F-14A17140C45A}"/>
          </ac:spMkLst>
        </pc:spChg>
        <pc:spChg chg="add mod">
          <ac:chgData name="Philipp Theile | EWI" userId="389f5144-a239-4438-b72c-100d5483c819" providerId="ADAL" clId="{F09E99D6-B178-4DB3-AECB-60DA0AEF7478}" dt="2021-04-26T07:56:26.516" v="12483" actId="20577"/>
          <ac:spMkLst>
            <pc:docMk/>
            <pc:sldMk cId="2423556196" sldId="260"/>
            <ac:spMk id="14" creationId="{817D9799-626B-4BD8-9AA4-AADD5301A0D6}"/>
          </ac:spMkLst>
        </pc:spChg>
        <pc:spChg chg="add del mod">
          <ac:chgData name="Philipp Theile | EWI" userId="389f5144-a239-4438-b72c-100d5483c819" providerId="ADAL" clId="{F09E99D6-B178-4DB3-AECB-60DA0AEF7478}" dt="2021-04-25T14:03:23.978" v="10661" actId="478"/>
          <ac:spMkLst>
            <pc:docMk/>
            <pc:sldMk cId="2423556196" sldId="260"/>
            <ac:spMk id="15" creationId="{123FE2CA-C69B-4D50-8084-5E97DD91A2B8}"/>
          </ac:spMkLst>
        </pc:spChg>
        <pc:spChg chg="mod">
          <ac:chgData name="Philipp Theile | EWI" userId="389f5144-a239-4438-b72c-100d5483c819" providerId="ADAL" clId="{F09E99D6-B178-4DB3-AECB-60DA0AEF7478}" dt="2021-04-26T07:51:08.982" v="12402" actId="1035"/>
          <ac:spMkLst>
            <pc:docMk/>
            <pc:sldMk cId="2423556196" sldId="260"/>
            <ac:spMk id="16" creationId="{F4331B9A-037E-44FB-85C4-8146ECF9A500}"/>
          </ac:spMkLst>
        </pc:spChg>
        <pc:spChg chg="mod">
          <ac:chgData name="Philipp Theile | EWI" userId="389f5144-a239-4438-b72c-100d5483c819" providerId="ADAL" clId="{F09E99D6-B178-4DB3-AECB-60DA0AEF7478}" dt="2021-04-26T07:51:08.982" v="12402" actId="1035"/>
          <ac:spMkLst>
            <pc:docMk/>
            <pc:sldMk cId="2423556196" sldId="260"/>
            <ac:spMk id="17" creationId="{BE5D55EC-D55A-4AE7-A660-60DB717666C8}"/>
          </ac:spMkLst>
        </pc:spChg>
      </pc:sldChg>
      <pc:sldChg chg="modSp add mod ord">
        <pc:chgData name="Philipp Theile | EWI" userId="389f5144-a239-4438-b72c-100d5483c819" providerId="ADAL" clId="{F09E99D6-B178-4DB3-AECB-60DA0AEF7478}" dt="2021-04-19T09:40:01.008" v="2751"/>
        <pc:sldMkLst>
          <pc:docMk/>
          <pc:sldMk cId="3166979498" sldId="261"/>
        </pc:sldMkLst>
        <pc:spChg chg="mod">
          <ac:chgData name="Philipp Theile | EWI" userId="389f5144-a239-4438-b72c-100d5483c819" providerId="ADAL" clId="{F09E99D6-B178-4DB3-AECB-60DA0AEF7478}" dt="2021-04-08T08:54:14.619" v="197" actId="20577"/>
          <ac:spMkLst>
            <pc:docMk/>
            <pc:sldMk cId="3166979498" sldId="261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08T09:17:07.552" v="848" actId="20577"/>
          <ac:spMkLst>
            <pc:docMk/>
            <pc:sldMk cId="3166979498" sldId="261"/>
            <ac:spMk id="3" creationId="{00000000-0000-0000-0000-000000000000}"/>
          </ac:spMkLst>
        </pc:spChg>
      </pc:sldChg>
      <pc:sldChg chg="addSp delSp modSp add mod ord modNotesTx">
        <pc:chgData name="Philipp Theile | EWI" userId="389f5144-a239-4438-b72c-100d5483c819" providerId="ADAL" clId="{F09E99D6-B178-4DB3-AECB-60DA0AEF7478}" dt="2021-04-26T08:34:14.523" v="13032" actId="20577"/>
        <pc:sldMkLst>
          <pc:docMk/>
          <pc:sldMk cId="3372621598" sldId="262"/>
        </pc:sldMkLst>
        <pc:spChg chg="mod">
          <ac:chgData name="Philipp Theile | EWI" userId="389f5144-a239-4438-b72c-100d5483c819" providerId="ADAL" clId="{F09E99D6-B178-4DB3-AECB-60DA0AEF7478}" dt="2021-04-20T14:12:51.978" v="6389" actId="20577"/>
          <ac:spMkLst>
            <pc:docMk/>
            <pc:sldMk cId="3372621598" sldId="262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3" creationId="{00000000-0000-0000-0000-000000000000}"/>
          </ac:spMkLst>
        </pc:spChg>
        <pc:spChg chg="add 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4" creationId="{0431B869-5D1A-4356-94B0-8C2760BE22F5}"/>
          </ac:spMkLst>
        </pc:spChg>
        <pc:spChg chg="add 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5" creationId="{17B7A26D-CD28-4844-B6A3-1B59734C024C}"/>
          </ac:spMkLst>
        </pc:spChg>
        <pc:spChg chg="add 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8" creationId="{70E1CC95-5381-4EE1-B2C7-3779EC57DABF}"/>
          </ac:spMkLst>
        </pc:spChg>
        <pc:spChg chg="add 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9" creationId="{F726DFAB-5754-4765-8907-076A8670267C}"/>
          </ac:spMkLst>
        </pc:spChg>
        <pc:spChg chg="add del mod">
          <ac:chgData name="Philipp Theile | EWI" userId="389f5144-a239-4438-b72c-100d5483c819" providerId="ADAL" clId="{F09E99D6-B178-4DB3-AECB-60DA0AEF7478}" dt="2021-04-21T07:17:08.902" v="7448" actId="478"/>
          <ac:spMkLst>
            <pc:docMk/>
            <pc:sldMk cId="3372621598" sldId="262"/>
            <ac:spMk id="13" creationId="{56A4A9EA-D571-47C9-9CAE-BF3EEA21396E}"/>
          </ac:spMkLst>
        </pc:spChg>
        <pc:spChg chg="add del mod">
          <ac:chgData name="Philipp Theile | EWI" userId="389f5144-a239-4438-b72c-100d5483c819" providerId="ADAL" clId="{F09E99D6-B178-4DB3-AECB-60DA0AEF7478}" dt="2021-04-21T07:17:07.014" v="7447" actId="478"/>
          <ac:spMkLst>
            <pc:docMk/>
            <pc:sldMk cId="3372621598" sldId="262"/>
            <ac:spMk id="14" creationId="{6CD80238-3767-40BD-96B8-55A900B28032}"/>
          </ac:spMkLst>
        </pc:spChg>
        <pc:spChg chg="add del mod">
          <ac:chgData name="Philipp Theile | EWI" userId="389f5144-a239-4438-b72c-100d5483c819" providerId="ADAL" clId="{F09E99D6-B178-4DB3-AECB-60DA0AEF7478}" dt="2021-04-21T07:17:04.457" v="7446" actId="478"/>
          <ac:spMkLst>
            <pc:docMk/>
            <pc:sldMk cId="3372621598" sldId="262"/>
            <ac:spMk id="15" creationId="{5E5B0D27-3F58-49B8-AE22-011DB89901C9}"/>
          </ac:spMkLst>
        </pc:spChg>
        <pc:spChg chg="add 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16" creationId="{64BFCC5B-A4E5-4D1D-8BCF-BFB3A780FF9B}"/>
          </ac:spMkLst>
        </pc:spChg>
        <pc:spChg chg="add 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17" creationId="{8514C0C3-264D-4BCB-BB80-68B3FBAF922E}"/>
          </ac:spMkLst>
        </pc:spChg>
        <pc:spChg chg="add 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19" creationId="{8A786DA4-25D2-4F07-868D-76B9EA8D1A8C}"/>
          </ac:spMkLst>
        </pc:spChg>
        <pc:spChg chg="add del mod">
          <ac:chgData name="Philipp Theile | EWI" userId="389f5144-a239-4438-b72c-100d5483c819" providerId="ADAL" clId="{F09E99D6-B178-4DB3-AECB-60DA0AEF7478}" dt="2021-04-21T08:08:46.701" v="7770" actId="478"/>
          <ac:spMkLst>
            <pc:docMk/>
            <pc:sldMk cId="3372621598" sldId="262"/>
            <ac:spMk id="20" creationId="{EB6AD7D5-4D79-44AC-BBF3-B4C6AF78CA64}"/>
          </ac:spMkLst>
        </pc:spChg>
        <pc:spChg chg="add mod">
          <ac:chgData name="Philipp Theile | EWI" userId="389f5144-a239-4438-b72c-100d5483c819" providerId="ADAL" clId="{F09E99D6-B178-4DB3-AECB-60DA0AEF7478}" dt="2021-04-25T12:42:30.972" v="10410" actId="1036"/>
          <ac:spMkLst>
            <pc:docMk/>
            <pc:sldMk cId="3372621598" sldId="262"/>
            <ac:spMk id="21" creationId="{AA81D6D3-4531-41CA-8157-C3E0B7ED96AC}"/>
          </ac:spMkLst>
        </pc:spChg>
        <pc:spChg chg="add del mod">
          <ac:chgData name="Philipp Theile | EWI" userId="389f5144-a239-4438-b72c-100d5483c819" providerId="ADAL" clId="{F09E99D6-B178-4DB3-AECB-60DA0AEF7478}" dt="2021-04-25T12:42:16.141" v="10395" actId="478"/>
          <ac:spMkLst>
            <pc:docMk/>
            <pc:sldMk cId="3372621598" sldId="262"/>
            <ac:spMk id="25" creationId="{7052D4F7-32C9-4931-87EA-6D68B2CC096A}"/>
          </ac:spMkLst>
        </pc:spChg>
        <pc:spChg chg="add mod">
          <ac:chgData name="Philipp Theile | EWI" userId="389f5144-a239-4438-b72c-100d5483c819" providerId="ADAL" clId="{F09E99D6-B178-4DB3-AECB-60DA0AEF7478}" dt="2021-04-26T08:34:14.523" v="13032" actId="20577"/>
          <ac:spMkLst>
            <pc:docMk/>
            <pc:sldMk cId="3372621598" sldId="262"/>
            <ac:spMk id="26" creationId="{FEB5DD18-0FF7-49DB-A097-868221D2C72A}"/>
          </ac:spMkLst>
        </pc:spChg>
        <pc:picChg chg="add mod">
          <ac:chgData name="Philipp Theile | EWI" userId="389f5144-a239-4438-b72c-100d5483c819" providerId="ADAL" clId="{F09E99D6-B178-4DB3-AECB-60DA0AEF7478}" dt="2021-04-25T12:42:30.972" v="10410" actId="1036"/>
          <ac:picMkLst>
            <pc:docMk/>
            <pc:sldMk cId="3372621598" sldId="262"/>
            <ac:picMk id="10" creationId="{DB7723D9-A9FA-44AC-A1D9-231BBAA68B06}"/>
          </ac:picMkLst>
        </pc:picChg>
        <pc:picChg chg="add mod">
          <ac:chgData name="Philipp Theile | EWI" userId="389f5144-a239-4438-b72c-100d5483c819" providerId="ADAL" clId="{F09E99D6-B178-4DB3-AECB-60DA0AEF7478}" dt="2021-04-25T12:42:30.972" v="10410" actId="1036"/>
          <ac:picMkLst>
            <pc:docMk/>
            <pc:sldMk cId="3372621598" sldId="262"/>
            <ac:picMk id="12" creationId="{A990F44A-BCDA-410A-B685-54B86C6B25F9}"/>
          </ac:picMkLst>
        </pc:picChg>
        <pc:picChg chg="add mod">
          <ac:chgData name="Philipp Theile | EWI" userId="389f5144-a239-4438-b72c-100d5483c819" providerId="ADAL" clId="{F09E99D6-B178-4DB3-AECB-60DA0AEF7478}" dt="2021-04-26T08:34:10.798" v="13029" actId="14100"/>
          <ac:picMkLst>
            <pc:docMk/>
            <pc:sldMk cId="3372621598" sldId="262"/>
            <ac:picMk id="14" creationId="{209B2F26-73DA-4EC4-9929-25836663A3A7}"/>
          </ac:picMkLst>
        </pc:picChg>
        <pc:picChg chg="add mod">
          <ac:chgData name="Philipp Theile | EWI" userId="389f5144-a239-4438-b72c-100d5483c819" providerId="ADAL" clId="{F09E99D6-B178-4DB3-AECB-60DA0AEF7478}" dt="2021-04-25T12:42:30.972" v="10410" actId="1036"/>
          <ac:picMkLst>
            <pc:docMk/>
            <pc:sldMk cId="3372621598" sldId="262"/>
            <ac:picMk id="18" creationId="{BFC908BE-2F87-41C6-B74D-95679E132984}"/>
          </ac:picMkLst>
        </pc:picChg>
        <pc:picChg chg="add mod">
          <ac:chgData name="Philipp Theile | EWI" userId="389f5144-a239-4438-b72c-100d5483c819" providerId="ADAL" clId="{F09E99D6-B178-4DB3-AECB-60DA0AEF7478}" dt="2021-04-25T12:42:30.972" v="10410" actId="1036"/>
          <ac:picMkLst>
            <pc:docMk/>
            <pc:sldMk cId="3372621598" sldId="262"/>
            <ac:picMk id="20" creationId="{51D318FC-044A-47D8-859C-90C001EB5EF2}"/>
          </ac:picMkLst>
        </pc:picChg>
        <pc:picChg chg="add mod">
          <ac:chgData name="Philipp Theile | EWI" userId="389f5144-a239-4438-b72c-100d5483c819" providerId="ADAL" clId="{F09E99D6-B178-4DB3-AECB-60DA0AEF7478}" dt="2021-04-25T12:42:30.972" v="10410" actId="1036"/>
          <ac:picMkLst>
            <pc:docMk/>
            <pc:sldMk cId="3372621598" sldId="262"/>
            <ac:picMk id="22" creationId="{A632C7C7-FD1E-4C24-B2CB-CD21D6B71FA0}"/>
          </ac:picMkLst>
        </pc:picChg>
        <pc:cxnChg chg="add mod">
          <ac:chgData name="Philipp Theile | EWI" userId="389f5144-a239-4438-b72c-100d5483c819" providerId="ADAL" clId="{F09E99D6-B178-4DB3-AECB-60DA0AEF7478}" dt="2021-04-25T12:42:30.972" v="10410" actId="1036"/>
          <ac:cxnSpMkLst>
            <pc:docMk/>
            <pc:sldMk cId="3372621598" sldId="262"/>
            <ac:cxnSpMk id="7" creationId="{7F37CDF6-7FC8-440D-90FD-E9EA2C4810D8}"/>
          </ac:cxnSpMkLst>
        </pc:cxnChg>
        <pc:cxnChg chg="add del mod">
          <ac:chgData name="Philipp Theile | EWI" userId="389f5144-a239-4438-b72c-100d5483c819" providerId="ADAL" clId="{F09E99D6-B178-4DB3-AECB-60DA0AEF7478}" dt="2021-04-21T07:55:28.920" v="7742" actId="478"/>
          <ac:cxnSpMkLst>
            <pc:docMk/>
            <pc:sldMk cId="3372621598" sldId="262"/>
            <ac:cxnSpMk id="12" creationId="{2FAA7AE4-E77C-48F7-B671-E1E2CE27911B}"/>
          </ac:cxnSpMkLst>
        </pc:cxnChg>
        <pc:cxnChg chg="add del mod">
          <ac:chgData name="Philipp Theile | EWI" userId="389f5144-a239-4438-b72c-100d5483c819" providerId="ADAL" clId="{F09E99D6-B178-4DB3-AECB-60DA0AEF7478}" dt="2021-04-21T08:09:53.181" v="7841" actId="478"/>
          <ac:cxnSpMkLst>
            <pc:docMk/>
            <pc:sldMk cId="3372621598" sldId="262"/>
            <ac:cxnSpMk id="18" creationId="{3F1B1BA7-C3DB-4C39-8324-5FC5748AFFC4}"/>
          </ac:cxnSpMkLst>
        </pc:cxnChg>
        <pc:cxnChg chg="add mod">
          <ac:chgData name="Philipp Theile | EWI" userId="389f5144-a239-4438-b72c-100d5483c819" providerId="ADAL" clId="{F09E99D6-B178-4DB3-AECB-60DA0AEF7478}" dt="2021-04-25T12:42:30.972" v="10410" actId="1036"/>
          <ac:cxnSpMkLst>
            <pc:docMk/>
            <pc:sldMk cId="3372621598" sldId="262"/>
            <ac:cxnSpMk id="23" creationId="{8A1712F8-4637-4A33-843A-3F9ED7624451}"/>
          </ac:cxnSpMkLst>
        </pc:cxnChg>
        <pc:cxnChg chg="add mod">
          <ac:chgData name="Philipp Theile | EWI" userId="389f5144-a239-4438-b72c-100d5483c819" providerId="ADAL" clId="{F09E99D6-B178-4DB3-AECB-60DA0AEF7478}" dt="2021-04-25T12:42:30.972" v="10410" actId="1036"/>
          <ac:cxnSpMkLst>
            <pc:docMk/>
            <pc:sldMk cId="3372621598" sldId="262"/>
            <ac:cxnSpMk id="24" creationId="{73BD4867-A64C-4D26-94B2-0EFC88D9DDEA}"/>
          </ac:cxnSpMkLst>
        </pc:cxnChg>
      </pc:sldChg>
      <pc:sldChg chg="modSp add mod ord">
        <pc:chgData name="Philipp Theile | EWI" userId="389f5144-a239-4438-b72c-100d5483c819" providerId="ADAL" clId="{F09E99D6-B178-4DB3-AECB-60DA0AEF7478}" dt="2021-04-20T14:13:01.313" v="6392" actId="20578"/>
        <pc:sldMkLst>
          <pc:docMk/>
          <pc:sldMk cId="2593749060" sldId="263"/>
        </pc:sldMkLst>
        <pc:spChg chg="mod">
          <ac:chgData name="Philipp Theile | EWI" userId="389f5144-a239-4438-b72c-100d5483c819" providerId="ADAL" clId="{F09E99D6-B178-4DB3-AECB-60DA0AEF7478}" dt="2021-04-08T08:58:06.515" v="421" actId="20577"/>
          <ac:spMkLst>
            <pc:docMk/>
            <pc:sldMk cId="2593749060" sldId="263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19T09:45:51.537" v="2792" actId="20577"/>
          <ac:spMkLst>
            <pc:docMk/>
            <pc:sldMk cId="2593749060" sldId="263"/>
            <ac:spMk id="3" creationId="{00000000-0000-0000-0000-000000000000}"/>
          </ac:spMkLst>
        </pc:spChg>
      </pc:sldChg>
      <pc:sldChg chg="addSp modSp add mod">
        <pc:chgData name="Philipp Theile | EWI" userId="389f5144-a239-4438-b72c-100d5483c819" providerId="ADAL" clId="{F09E99D6-B178-4DB3-AECB-60DA0AEF7478}" dt="2021-04-20T15:10:38.416" v="7347" actId="14100"/>
        <pc:sldMkLst>
          <pc:docMk/>
          <pc:sldMk cId="2323406534" sldId="264"/>
        </pc:sldMkLst>
        <pc:spChg chg="mod">
          <ac:chgData name="Philipp Theile | EWI" userId="389f5144-a239-4438-b72c-100d5483c819" providerId="ADAL" clId="{F09E99D6-B178-4DB3-AECB-60DA0AEF7478}" dt="2021-04-08T08:58:47.378" v="469" actId="20577"/>
          <ac:spMkLst>
            <pc:docMk/>
            <pc:sldMk cId="2323406534" sldId="264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20T15:00:00.764" v="7312" actId="20577"/>
          <ac:spMkLst>
            <pc:docMk/>
            <pc:sldMk cId="2323406534" sldId="264"/>
            <ac:spMk id="3" creationId="{00000000-0000-0000-0000-000000000000}"/>
          </ac:spMkLst>
        </pc:spChg>
        <pc:spChg chg="add mod">
          <ac:chgData name="Philipp Theile | EWI" userId="389f5144-a239-4438-b72c-100d5483c819" providerId="ADAL" clId="{F09E99D6-B178-4DB3-AECB-60DA0AEF7478}" dt="2021-04-20T14:25:44.130" v="7021" actId="1076"/>
          <ac:spMkLst>
            <pc:docMk/>
            <pc:sldMk cId="2323406534" sldId="264"/>
            <ac:spMk id="4" creationId="{4692CDA9-6C13-4A4E-8E6B-9D4293ADCEC5}"/>
          </ac:spMkLst>
        </pc:spChg>
        <pc:spChg chg="add mod">
          <ac:chgData name="Philipp Theile | EWI" userId="389f5144-a239-4438-b72c-100d5483c819" providerId="ADAL" clId="{F09E99D6-B178-4DB3-AECB-60DA0AEF7478}" dt="2021-04-20T14:26:02.628" v="7051" actId="1076"/>
          <ac:spMkLst>
            <pc:docMk/>
            <pc:sldMk cId="2323406534" sldId="264"/>
            <ac:spMk id="5" creationId="{0F5236C4-5BFF-4281-BAA9-C37B9C0DE401}"/>
          </ac:spMkLst>
        </pc:spChg>
        <pc:spChg chg="add mod">
          <ac:chgData name="Philipp Theile | EWI" userId="389f5144-a239-4438-b72c-100d5483c819" providerId="ADAL" clId="{F09E99D6-B178-4DB3-AECB-60DA0AEF7478}" dt="2021-04-20T15:10:38.416" v="7347" actId="14100"/>
          <ac:spMkLst>
            <pc:docMk/>
            <pc:sldMk cId="2323406534" sldId="264"/>
            <ac:spMk id="6" creationId="{E1BB5B1B-DE79-4523-9078-F8E423A20DD8}"/>
          </ac:spMkLst>
        </pc:spChg>
      </pc:sldChg>
      <pc:sldChg chg="modSp add mod ord">
        <pc:chgData name="Philipp Theile | EWI" userId="389f5144-a239-4438-b72c-100d5483c819" providerId="ADAL" clId="{F09E99D6-B178-4DB3-AECB-60DA0AEF7478}" dt="2021-04-19T09:40:27.359" v="2753"/>
        <pc:sldMkLst>
          <pc:docMk/>
          <pc:sldMk cId="4174302037" sldId="265"/>
        </pc:sldMkLst>
        <pc:spChg chg="mod">
          <ac:chgData name="Philipp Theile | EWI" userId="389f5144-a239-4438-b72c-100d5483c819" providerId="ADAL" clId="{F09E99D6-B178-4DB3-AECB-60DA0AEF7478}" dt="2021-04-08T08:59:04.762" v="504" actId="20577"/>
          <ac:spMkLst>
            <pc:docMk/>
            <pc:sldMk cId="4174302037" sldId="265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08T12:39:30.559" v="1891" actId="20577"/>
          <ac:spMkLst>
            <pc:docMk/>
            <pc:sldMk cId="4174302037" sldId="265"/>
            <ac:spMk id="3" creationId="{00000000-0000-0000-0000-000000000000}"/>
          </ac:spMkLst>
        </pc:spChg>
      </pc:sldChg>
      <pc:sldChg chg="modSp add del mod">
        <pc:chgData name="Philipp Theile | EWI" userId="389f5144-a239-4438-b72c-100d5483c819" providerId="ADAL" clId="{F09E99D6-B178-4DB3-AECB-60DA0AEF7478}" dt="2021-04-19T09:23:43.635" v="2349" actId="47"/>
        <pc:sldMkLst>
          <pc:docMk/>
          <pc:sldMk cId="1697645794" sldId="266"/>
        </pc:sldMkLst>
        <pc:spChg chg="mod">
          <ac:chgData name="Philipp Theile | EWI" userId="389f5144-a239-4438-b72c-100d5483c819" providerId="ADAL" clId="{F09E99D6-B178-4DB3-AECB-60DA0AEF7478}" dt="2021-04-19T09:12:04.770" v="1916" actId="20577"/>
          <ac:spMkLst>
            <pc:docMk/>
            <pc:sldMk cId="1697645794" sldId="266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19T09:12:28.196" v="1961" actId="20577"/>
          <ac:spMkLst>
            <pc:docMk/>
            <pc:sldMk cId="1697645794" sldId="266"/>
            <ac:spMk id="3" creationId="{00000000-0000-0000-0000-000000000000}"/>
          </ac:spMkLst>
        </pc:spChg>
      </pc:sldChg>
      <pc:sldChg chg="modSp mod">
        <pc:chgData name="Philipp Theile | EWI" userId="389f5144-a239-4438-b72c-100d5483c819" providerId="ADAL" clId="{F09E99D6-B178-4DB3-AECB-60DA0AEF7478}" dt="2021-04-25T14:38:13.650" v="12216" actId="20577"/>
        <pc:sldMkLst>
          <pc:docMk/>
          <pc:sldMk cId="2352540243" sldId="267"/>
        </pc:sldMkLst>
        <pc:spChg chg="mod">
          <ac:chgData name="Philipp Theile | EWI" userId="389f5144-a239-4438-b72c-100d5483c819" providerId="ADAL" clId="{F09E99D6-B178-4DB3-AECB-60DA0AEF7478}" dt="2021-04-25T14:38:13.650" v="12216" actId="20577"/>
          <ac:spMkLst>
            <pc:docMk/>
            <pc:sldMk cId="2352540243" sldId="267"/>
            <ac:spMk id="2" creationId="{95917E3F-4DC6-4597-AC57-747CE74370EF}"/>
          </ac:spMkLst>
        </pc:spChg>
        <pc:spChg chg="mod">
          <ac:chgData name="Philipp Theile | EWI" userId="389f5144-a239-4438-b72c-100d5483c819" providerId="ADAL" clId="{F09E99D6-B178-4DB3-AECB-60DA0AEF7478}" dt="2021-04-25T14:37:47.818" v="12186" actId="14100"/>
          <ac:spMkLst>
            <pc:docMk/>
            <pc:sldMk cId="2352540243" sldId="267"/>
            <ac:spMk id="3" creationId="{84FAE476-0E88-4C3A-B86A-29C83C8618CE}"/>
          </ac:spMkLst>
        </pc:spChg>
        <pc:spChg chg="mod">
          <ac:chgData name="Philipp Theile | EWI" userId="389f5144-a239-4438-b72c-100d5483c819" providerId="ADAL" clId="{F09E99D6-B178-4DB3-AECB-60DA0AEF7478}" dt="2021-04-25T14:37:50.234" v="12187" actId="14100"/>
          <ac:spMkLst>
            <pc:docMk/>
            <pc:sldMk cId="2352540243" sldId="267"/>
            <ac:spMk id="4" creationId="{D78C5AB5-3815-4208-B913-52A2F7591E1F}"/>
          </ac:spMkLst>
        </pc:spChg>
      </pc:sldChg>
      <pc:sldChg chg="modSp add del mod">
        <pc:chgData name="Philipp Theile | EWI" userId="389f5144-a239-4438-b72c-100d5483c819" providerId="ADAL" clId="{F09E99D6-B178-4DB3-AECB-60DA0AEF7478}" dt="2021-04-19T09:45:26.776" v="2764" actId="47"/>
        <pc:sldMkLst>
          <pc:docMk/>
          <pc:sldMk cId="3118984830" sldId="268"/>
        </pc:sldMkLst>
        <pc:spChg chg="mod">
          <ac:chgData name="Philipp Theile | EWI" userId="389f5144-a239-4438-b72c-100d5483c819" providerId="ADAL" clId="{F09E99D6-B178-4DB3-AECB-60DA0AEF7478}" dt="2021-04-08T09:18:30.496" v="979" actId="20577"/>
          <ac:spMkLst>
            <pc:docMk/>
            <pc:sldMk cId="3118984830" sldId="268"/>
            <ac:spMk id="2" creationId="{00000000-0000-0000-0000-000000000000}"/>
          </ac:spMkLst>
        </pc:spChg>
      </pc:sldChg>
      <pc:sldChg chg="modSp add del mod">
        <pc:chgData name="Philipp Theile | EWI" userId="389f5144-a239-4438-b72c-100d5483c819" providerId="ADAL" clId="{F09E99D6-B178-4DB3-AECB-60DA0AEF7478}" dt="2021-04-19T09:40:46.927" v="2758" actId="47"/>
        <pc:sldMkLst>
          <pc:docMk/>
          <pc:sldMk cId="1885312042" sldId="269"/>
        </pc:sldMkLst>
        <pc:spChg chg="mod">
          <ac:chgData name="Philipp Theile | EWI" userId="389f5144-a239-4438-b72c-100d5483c819" providerId="ADAL" clId="{F09E99D6-B178-4DB3-AECB-60DA0AEF7478}" dt="2021-04-19T09:40:38.364" v="2754" actId="21"/>
          <ac:spMkLst>
            <pc:docMk/>
            <pc:sldMk cId="1885312042" sldId="269"/>
            <ac:spMk id="3" creationId="{00000000-0000-0000-0000-000000000000}"/>
          </ac:spMkLst>
        </pc:spChg>
      </pc:sldChg>
      <pc:sldChg chg="modSp del mod">
        <pc:chgData name="Philipp Theile | EWI" userId="389f5144-a239-4438-b72c-100d5483c819" providerId="ADAL" clId="{F09E99D6-B178-4DB3-AECB-60DA0AEF7478}" dt="2021-04-20T15:15:04.743" v="7361" actId="2696"/>
        <pc:sldMkLst>
          <pc:docMk/>
          <pc:sldMk cId="2769228880" sldId="270"/>
        </pc:sldMkLst>
        <pc:spChg chg="mod">
          <ac:chgData name="Philipp Theile | EWI" userId="389f5144-a239-4438-b72c-100d5483c819" providerId="ADAL" clId="{F09E99D6-B178-4DB3-AECB-60DA0AEF7478}" dt="2021-04-20T15:15:01.857" v="7360" actId="20577"/>
          <ac:spMkLst>
            <pc:docMk/>
            <pc:sldMk cId="2769228880" sldId="270"/>
            <ac:spMk id="3" creationId="{5C979546-B20C-4697-A004-D0D23608ACC2}"/>
          </ac:spMkLst>
        </pc:spChg>
      </pc:sldChg>
      <pc:sldChg chg="add">
        <pc:chgData name="Philipp Theile | EWI" userId="389f5144-a239-4438-b72c-100d5483c819" providerId="ADAL" clId="{F09E99D6-B178-4DB3-AECB-60DA0AEF7478}" dt="2021-04-20T15:15:09.499" v="7362"/>
        <pc:sldMkLst>
          <pc:docMk/>
          <pc:sldMk cId="3489497937" sldId="270"/>
        </pc:sldMkLst>
      </pc:sldChg>
      <pc:sldChg chg="addSp delSp modSp mod">
        <pc:chgData name="Philipp Theile | EWI" userId="389f5144-a239-4438-b72c-100d5483c819" providerId="ADAL" clId="{F09E99D6-B178-4DB3-AECB-60DA0AEF7478}" dt="2021-04-26T07:46:29.142" v="12333" actId="14100"/>
        <pc:sldMkLst>
          <pc:docMk/>
          <pc:sldMk cId="3182278550" sldId="271"/>
        </pc:sldMkLst>
        <pc:spChg chg="mod">
          <ac:chgData name="Philipp Theile | EWI" userId="389f5144-a239-4438-b72c-100d5483c819" providerId="ADAL" clId="{F09E99D6-B178-4DB3-AECB-60DA0AEF7478}" dt="2021-04-20T15:31:26.335" v="7372" actId="20577"/>
          <ac:spMkLst>
            <pc:docMk/>
            <pc:sldMk cId="3182278550" sldId="271"/>
            <ac:spMk id="2" creationId="{86FB6454-D977-4264-8971-047BBA0B0378}"/>
          </ac:spMkLst>
        </pc:spChg>
        <pc:spChg chg="del">
          <ac:chgData name="Philipp Theile | EWI" userId="389f5144-a239-4438-b72c-100d5483c819" providerId="ADAL" clId="{F09E99D6-B178-4DB3-AECB-60DA0AEF7478}" dt="2021-04-20T13:19:49.514" v="4880" actId="478"/>
          <ac:spMkLst>
            <pc:docMk/>
            <pc:sldMk cId="3182278550" sldId="271"/>
            <ac:spMk id="18" creationId="{0D214D7B-C67D-477F-8DD6-26F13E9F5EC3}"/>
          </ac:spMkLst>
        </pc:spChg>
        <pc:spChg chg="add mod">
          <ac:chgData name="Philipp Theile | EWI" userId="389f5144-a239-4438-b72c-100d5483c819" providerId="ADAL" clId="{F09E99D6-B178-4DB3-AECB-60DA0AEF7478}" dt="2021-04-21T09:27:10.390" v="8552" actId="20577"/>
          <ac:spMkLst>
            <pc:docMk/>
            <pc:sldMk cId="3182278550" sldId="271"/>
            <ac:spMk id="21" creationId="{C577961C-E939-4D71-BC45-8EFCAC4DBCFA}"/>
          </ac:spMkLst>
        </pc:spChg>
        <pc:spChg chg="add mod">
          <ac:chgData name="Philipp Theile | EWI" userId="389f5144-a239-4438-b72c-100d5483c819" providerId="ADAL" clId="{F09E99D6-B178-4DB3-AECB-60DA0AEF7478}" dt="2021-04-21T09:27:05.524" v="8540" actId="14100"/>
          <ac:spMkLst>
            <pc:docMk/>
            <pc:sldMk cId="3182278550" sldId="271"/>
            <ac:spMk id="22" creationId="{3576E66A-F0F7-409A-9FFA-A0512B6D0BD3}"/>
          </ac:spMkLst>
        </pc:spChg>
        <pc:spChg chg="add mod">
          <ac:chgData name="Philipp Theile | EWI" userId="389f5144-a239-4438-b72c-100d5483c819" providerId="ADAL" clId="{F09E99D6-B178-4DB3-AECB-60DA0AEF7478}" dt="2021-04-26T07:46:29.142" v="12333" actId="14100"/>
          <ac:spMkLst>
            <pc:docMk/>
            <pc:sldMk cId="3182278550" sldId="271"/>
            <ac:spMk id="23" creationId="{50C385E6-9639-4272-8AA6-FEC580A24124}"/>
          </ac:spMkLst>
        </pc:spChg>
        <pc:spChg chg="add mod">
          <ac:chgData name="Philipp Theile | EWI" userId="389f5144-a239-4438-b72c-100d5483c819" providerId="ADAL" clId="{F09E99D6-B178-4DB3-AECB-60DA0AEF7478}" dt="2021-04-21T09:28:24.357" v="8592" actId="20577"/>
          <ac:spMkLst>
            <pc:docMk/>
            <pc:sldMk cId="3182278550" sldId="271"/>
            <ac:spMk id="25" creationId="{A0F9ABAB-A3D0-40C3-BBEA-A2864CDA07D4}"/>
          </ac:spMkLst>
        </pc:spChg>
        <pc:spChg chg="del mod">
          <ac:chgData name="Philipp Theile | EWI" userId="389f5144-a239-4438-b72c-100d5483c819" providerId="ADAL" clId="{F09E99D6-B178-4DB3-AECB-60DA0AEF7478}" dt="2021-04-20T13:17:36.177" v="4878" actId="478"/>
          <ac:spMkLst>
            <pc:docMk/>
            <pc:sldMk cId="3182278550" sldId="271"/>
            <ac:spMk id="25" creationId="{D2E4CA28-9085-49C1-908F-2493EEDBA0B5}"/>
          </ac:spMkLst>
        </pc:spChg>
        <pc:spChg chg="add del mod">
          <ac:chgData name="Philipp Theile | EWI" userId="389f5144-a239-4438-b72c-100d5483c819" providerId="ADAL" clId="{F09E99D6-B178-4DB3-AECB-60DA0AEF7478}" dt="2021-04-20T11:47:42.560" v="4119"/>
          <ac:spMkLst>
            <pc:docMk/>
            <pc:sldMk cId="3182278550" sldId="271"/>
            <ac:spMk id="35" creationId="{EEE09074-4A19-4743-8C47-FE88753C69E4}"/>
          </ac:spMkLst>
        </pc:spChg>
        <pc:spChg chg="add del mod">
          <ac:chgData name="Philipp Theile | EWI" userId="389f5144-a239-4438-b72c-100d5483c819" providerId="ADAL" clId="{F09E99D6-B178-4DB3-AECB-60DA0AEF7478}" dt="2021-04-20T11:47:42.560" v="4119"/>
          <ac:spMkLst>
            <pc:docMk/>
            <pc:sldMk cId="3182278550" sldId="271"/>
            <ac:spMk id="36" creationId="{F0F8BAA2-7D0C-4EBA-AA93-367A3DBBD168}"/>
          </ac:spMkLst>
        </pc:spChg>
        <pc:spChg chg="add mod">
          <ac:chgData name="Philipp Theile | EWI" userId="389f5144-a239-4438-b72c-100d5483c819" providerId="ADAL" clId="{F09E99D6-B178-4DB3-AECB-60DA0AEF7478}" dt="2021-04-20T11:47:58.090" v="4122" actId="164"/>
          <ac:spMkLst>
            <pc:docMk/>
            <pc:sldMk cId="3182278550" sldId="271"/>
            <ac:spMk id="40" creationId="{84C32A39-BBEC-4996-B4EE-062E2CD437AC}"/>
          </ac:spMkLst>
        </pc:spChg>
        <pc:spChg chg="add mod">
          <ac:chgData name="Philipp Theile | EWI" userId="389f5144-a239-4438-b72c-100d5483c819" providerId="ADAL" clId="{F09E99D6-B178-4DB3-AECB-60DA0AEF7478}" dt="2021-04-20T11:47:58.090" v="4122" actId="164"/>
          <ac:spMkLst>
            <pc:docMk/>
            <pc:sldMk cId="3182278550" sldId="271"/>
            <ac:spMk id="41" creationId="{58158D8D-F089-4FF8-8541-36E78A887785}"/>
          </ac:spMkLst>
        </pc:spChg>
        <pc:spChg chg="add mod">
          <ac:chgData name="Philipp Theile | EWI" userId="389f5144-a239-4438-b72c-100d5483c819" providerId="ADAL" clId="{F09E99D6-B178-4DB3-AECB-60DA0AEF7478}" dt="2021-04-20T13:29:16.149" v="5453" actId="20577"/>
          <ac:spMkLst>
            <pc:docMk/>
            <pc:sldMk cId="3182278550" sldId="271"/>
            <ac:spMk id="43" creationId="{1BC315BD-D699-4BF7-BBD6-2FD7678ED7AF}"/>
          </ac:spMkLst>
        </pc:spChg>
        <pc:spChg chg="add mod">
          <ac:chgData name="Philipp Theile | EWI" userId="389f5144-a239-4438-b72c-100d5483c819" providerId="ADAL" clId="{F09E99D6-B178-4DB3-AECB-60DA0AEF7478}" dt="2021-04-20T13:29:47.934" v="5454" actId="20577"/>
          <ac:spMkLst>
            <pc:docMk/>
            <pc:sldMk cId="3182278550" sldId="271"/>
            <ac:spMk id="44" creationId="{9686652B-3270-41E7-A13E-B3908F57BF76}"/>
          </ac:spMkLst>
        </pc:spChg>
        <pc:grpChg chg="mod">
          <ac:chgData name="Philipp Theile | EWI" userId="389f5144-a239-4438-b72c-100d5483c819" providerId="ADAL" clId="{F09E99D6-B178-4DB3-AECB-60DA0AEF7478}" dt="2021-04-20T13:28:05.092" v="5387" actId="1076"/>
          <ac:grpSpMkLst>
            <pc:docMk/>
            <pc:sldMk cId="3182278550" sldId="271"/>
            <ac:grpSpMk id="4" creationId="{0B5E7174-E610-4BFA-8675-8F12CC22B517}"/>
          </ac:grpSpMkLst>
        </pc:grpChg>
        <pc:grpChg chg="add del mod">
          <ac:chgData name="Philipp Theile | EWI" userId="389f5144-a239-4438-b72c-100d5483c819" providerId="ADAL" clId="{F09E99D6-B178-4DB3-AECB-60DA0AEF7478}" dt="2021-04-20T13:16:45.490" v="4870" actId="478"/>
          <ac:grpSpMkLst>
            <pc:docMk/>
            <pc:sldMk cId="3182278550" sldId="271"/>
            <ac:grpSpMk id="42" creationId="{42620780-EF8B-491D-BC4D-9C386C86766C}"/>
          </ac:grpSpMkLst>
        </pc:grpChg>
        <pc:picChg chg="add del mod">
          <ac:chgData name="Philipp Theile | EWI" userId="389f5144-a239-4438-b72c-100d5483c819" providerId="ADAL" clId="{F09E99D6-B178-4DB3-AECB-60DA0AEF7478}" dt="2021-04-20T11:47:42.560" v="4119"/>
          <ac:picMkLst>
            <pc:docMk/>
            <pc:sldMk cId="3182278550" sldId="271"/>
            <ac:picMk id="33" creationId="{2D1F3B90-E4FE-451F-BBCA-A2451A724887}"/>
          </ac:picMkLst>
        </pc:picChg>
        <pc:picChg chg="add mod">
          <ac:chgData name="Philipp Theile | EWI" userId="389f5144-a239-4438-b72c-100d5483c819" providerId="ADAL" clId="{F09E99D6-B178-4DB3-AECB-60DA0AEF7478}" dt="2021-04-20T11:47:58.090" v="4122" actId="164"/>
          <ac:picMkLst>
            <pc:docMk/>
            <pc:sldMk cId="3182278550" sldId="271"/>
            <ac:picMk id="37" creationId="{B13CEA6F-0DF9-4260-BC4E-ABB77E4F88CF}"/>
          </ac:picMkLst>
        </pc:picChg>
        <pc:picChg chg="add mod">
          <ac:chgData name="Philipp Theile | EWI" userId="389f5144-a239-4438-b72c-100d5483c819" providerId="ADAL" clId="{F09E99D6-B178-4DB3-AECB-60DA0AEF7478}" dt="2021-04-20T11:47:58.090" v="4122" actId="164"/>
          <ac:picMkLst>
            <pc:docMk/>
            <pc:sldMk cId="3182278550" sldId="271"/>
            <ac:picMk id="38" creationId="{8456FE6F-576B-4056-A595-48AFC1863ECB}"/>
          </ac:picMkLst>
        </pc:picChg>
        <pc:cxnChg chg="add del mod">
          <ac:chgData name="Philipp Theile | EWI" userId="389f5144-a239-4438-b72c-100d5483c819" providerId="ADAL" clId="{F09E99D6-B178-4DB3-AECB-60DA0AEF7478}" dt="2021-04-20T11:47:42.560" v="4119"/>
          <ac:cxnSpMkLst>
            <pc:docMk/>
            <pc:sldMk cId="3182278550" sldId="271"/>
            <ac:cxnSpMk id="34" creationId="{D4196113-A948-42D6-A812-2104D0C8B66A}"/>
          </ac:cxnSpMkLst>
        </pc:cxnChg>
        <pc:cxnChg chg="add mod">
          <ac:chgData name="Philipp Theile | EWI" userId="389f5144-a239-4438-b72c-100d5483c819" providerId="ADAL" clId="{F09E99D6-B178-4DB3-AECB-60DA0AEF7478}" dt="2021-04-20T13:16:45.490" v="4870" actId="478"/>
          <ac:cxnSpMkLst>
            <pc:docMk/>
            <pc:sldMk cId="3182278550" sldId="271"/>
            <ac:cxnSpMk id="39" creationId="{E5E24EE9-4433-4895-9ED3-A37D3A23039F}"/>
          </ac:cxnSpMkLst>
        </pc:cxnChg>
      </pc:sldChg>
      <pc:sldChg chg="modSp del mod">
        <pc:chgData name="Philipp Theile | EWI" userId="389f5144-a239-4438-b72c-100d5483c819" providerId="ADAL" clId="{F09E99D6-B178-4DB3-AECB-60DA0AEF7478}" dt="2021-04-20T11:58:21.524" v="4868" actId="2696"/>
        <pc:sldMkLst>
          <pc:docMk/>
          <pc:sldMk cId="1745899909" sldId="272"/>
        </pc:sldMkLst>
        <pc:spChg chg="mod">
          <ac:chgData name="Philipp Theile | EWI" userId="389f5144-a239-4438-b72c-100d5483c819" providerId="ADAL" clId="{F09E99D6-B178-4DB3-AECB-60DA0AEF7478}" dt="2021-04-20T08:39:03.514" v="2972" actId="20577"/>
          <ac:spMkLst>
            <pc:docMk/>
            <pc:sldMk cId="1745899909" sldId="272"/>
            <ac:spMk id="4" creationId="{7E6C13BE-E6DB-4C59-91CC-81A207C36EC8}"/>
          </ac:spMkLst>
        </pc:spChg>
      </pc:sldChg>
      <pc:sldChg chg="add">
        <pc:chgData name="Philipp Theile | EWI" userId="389f5144-a239-4438-b72c-100d5483c819" providerId="ADAL" clId="{F09E99D6-B178-4DB3-AECB-60DA0AEF7478}" dt="2021-04-20T11:58:27.108" v="4869"/>
        <pc:sldMkLst>
          <pc:docMk/>
          <pc:sldMk cId="3101687797" sldId="272"/>
        </pc:sldMkLst>
      </pc:sldChg>
      <pc:sldChg chg="addSp delSp modSp mod ord">
        <pc:chgData name="Philipp Theile | EWI" userId="389f5144-a239-4438-b72c-100d5483c819" providerId="ADAL" clId="{F09E99D6-B178-4DB3-AECB-60DA0AEF7478}" dt="2021-04-24T11:30:36.565" v="9679"/>
        <pc:sldMkLst>
          <pc:docMk/>
          <pc:sldMk cId="3713035471" sldId="273"/>
        </pc:sldMkLst>
        <pc:spChg chg="mod">
          <ac:chgData name="Philipp Theile | EWI" userId="389f5144-a239-4438-b72c-100d5483c819" providerId="ADAL" clId="{F09E99D6-B178-4DB3-AECB-60DA0AEF7478}" dt="2021-04-23T12:48:27.700" v="9372" actId="1076"/>
          <ac:spMkLst>
            <pc:docMk/>
            <pc:sldMk cId="3713035471" sldId="273"/>
            <ac:spMk id="2" creationId="{00000000-0000-0000-0000-000000000000}"/>
          </ac:spMkLst>
        </pc:spChg>
        <pc:spChg chg="add del mod">
          <ac:chgData name="Philipp Theile | EWI" userId="389f5144-a239-4438-b72c-100d5483c819" providerId="ADAL" clId="{F09E99D6-B178-4DB3-AECB-60DA0AEF7478}" dt="2021-04-20T13:31:18.891" v="5472" actId="478"/>
          <ac:spMkLst>
            <pc:docMk/>
            <pc:sldMk cId="3713035471" sldId="273"/>
            <ac:spMk id="3" creationId="{2745AC11-BADD-4AE4-9746-8611503A58B7}"/>
          </ac:spMkLst>
        </pc:spChg>
        <pc:spChg chg="del mod">
          <ac:chgData name="Philipp Theile | EWI" userId="389f5144-a239-4438-b72c-100d5483c819" providerId="ADAL" clId="{F09E99D6-B178-4DB3-AECB-60DA0AEF7478}" dt="2021-04-20T13:38:02.478" v="5653" actId="478"/>
          <ac:spMkLst>
            <pc:docMk/>
            <pc:sldMk cId="3713035471" sldId="273"/>
            <ac:spMk id="7" creationId="{F474B1DD-1327-44B5-82A9-84A21B3B3C07}"/>
          </ac:spMkLst>
        </pc:spChg>
        <pc:spChg chg="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8" creationId="{2D4A4350-37AF-4069-9F4B-88D8AFEFCE79}"/>
          </ac:spMkLst>
        </pc:spChg>
        <pc:spChg chg="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9" creationId="{698D3F08-E543-41B3-A777-1ADE77648689}"/>
          </ac:spMkLst>
        </pc:spChg>
        <pc:spChg chg="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11" creationId="{769EDDEB-9A52-490C-A7FB-005B6AB4DEF9}"/>
          </ac:spMkLst>
        </pc:spChg>
        <pc:spChg chg="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12" creationId="{F23EE5BE-6654-4DD5-AD3D-C1781E68216C}"/>
          </ac:spMkLst>
        </pc:spChg>
        <pc:spChg chg="add del mod">
          <ac:chgData name="Philipp Theile | EWI" userId="389f5144-a239-4438-b72c-100d5483c819" providerId="ADAL" clId="{F09E99D6-B178-4DB3-AECB-60DA0AEF7478}" dt="2021-04-20T13:31:18.459" v="5471" actId="478"/>
          <ac:spMkLst>
            <pc:docMk/>
            <pc:sldMk cId="3713035471" sldId="273"/>
            <ac:spMk id="16" creationId="{AB76D446-F053-4870-AB45-2FDC00A74245}"/>
          </ac:spMkLst>
        </pc:spChg>
        <pc:spChg chg="add del mod">
          <ac:chgData name="Philipp Theile | EWI" userId="389f5144-a239-4438-b72c-100d5483c819" providerId="ADAL" clId="{F09E99D6-B178-4DB3-AECB-60DA0AEF7478}" dt="2021-04-20T13:31:17.883" v="5470" actId="478"/>
          <ac:spMkLst>
            <pc:docMk/>
            <pc:sldMk cId="3713035471" sldId="273"/>
            <ac:spMk id="17" creationId="{900189E0-802C-4A68-B277-02182A1128F6}"/>
          </ac:spMkLst>
        </pc:spChg>
        <pc:spChg chg="add 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24" creationId="{A3029CFD-87CF-4862-84D3-A1F66E772DBB}"/>
          </ac:spMkLst>
        </pc:spChg>
        <pc:spChg chg="del mod">
          <ac:chgData name="Philipp Theile | EWI" userId="389f5144-a239-4438-b72c-100d5483c819" providerId="ADAL" clId="{F09E99D6-B178-4DB3-AECB-60DA0AEF7478}" dt="2021-04-20T13:34:25.405" v="5560" actId="478"/>
          <ac:spMkLst>
            <pc:docMk/>
            <pc:sldMk cId="3713035471" sldId="273"/>
            <ac:spMk id="25" creationId="{181A220D-27E8-4FD8-BBE7-3143ADD21BA3}"/>
          </ac:spMkLst>
        </pc:spChg>
        <pc:spChg chg="del mod">
          <ac:chgData name="Philipp Theile | EWI" userId="389f5144-a239-4438-b72c-100d5483c819" providerId="ADAL" clId="{F09E99D6-B178-4DB3-AECB-60DA0AEF7478}" dt="2021-04-20T13:34:10.385" v="5553" actId="478"/>
          <ac:spMkLst>
            <pc:docMk/>
            <pc:sldMk cId="3713035471" sldId="273"/>
            <ac:spMk id="26" creationId="{CABB2408-A96A-4559-ABE4-E34335B0671F}"/>
          </ac:spMkLst>
        </pc:spChg>
        <pc:spChg chg="add 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27" creationId="{FF8A7D44-4C36-4092-AB45-EE9196CAC84E}"/>
          </ac:spMkLst>
        </pc:spChg>
        <pc:spChg chg="add 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28" creationId="{77005B40-19B1-45A3-B413-D021B6CC3DF8}"/>
          </ac:spMkLst>
        </pc:spChg>
        <pc:spChg chg="add 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29" creationId="{0A9A73D5-2FF9-4A57-BEEB-EFC30240AB8B}"/>
          </ac:spMkLst>
        </pc:spChg>
        <pc:spChg chg="add 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30" creationId="{22EFE218-6418-40A8-B27A-CEAB26166BEA}"/>
          </ac:spMkLst>
        </pc:spChg>
        <pc:spChg chg="add mod">
          <ac:chgData name="Philipp Theile | EWI" userId="389f5144-a239-4438-b72c-100d5483c819" providerId="ADAL" clId="{F09E99D6-B178-4DB3-AECB-60DA0AEF7478}" dt="2021-04-20T14:24:52.063" v="6986" actId="2711"/>
          <ac:spMkLst>
            <pc:docMk/>
            <pc:sldMk cId="3713035471" sldId="273"/>
            <ac:spMk id="31" creationId="{2F188ADB-13CE-497E-A98D-D752921AFD00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44" creationId="{62DA28EB-DEFC-40EC-993A-C5B0AE73F6A0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45" creationId="{A2FDDBA8-D67C-4284-93D1-0B830418BAA2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46" creationId="{931A6F8C-AF67-4397-8664-4DB6027F9B57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47" creationId="{B5DA9602-FD77-47AE-AB88-10D33D831262}"/>
          </ac:spMkLst>
        </pc:spChg>
        <pc:spChg chg="add del mod">
          <ac:chgData name="Philipp Theile | EWI" userId="389f5144-a239-4438-b72c-100d5483c819" providerId="ADAL" clId="{F09E99D6-B178-4DB3-AECB-60DA0AEF7478}" dt="2021-04-20T13:52:31.757" v="5945" actId="478"/>
          <ac:spMkLst>
            <pc:docMk/>
            <pc:sldMk cId="3713035471" sldId="273"/>
            <ac:spMk id="48" creationId="{2D4E1205-F9C5-4E1F-9B8D-63266E3124A1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49" creationId="{84B83792-A0DF-4EF9-8945-9F2D1E54983A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50" creationId="{4F110591-7117-4EDC-8524-F7816E50E02E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51" creationId="{BA0DA61F-1935-47A4-9944-F1BE2DD4C57E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52" creationId="{8EE1B110-4426-4B17-BB53-3D7C74343AE0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53" creationId="{41730349-FAEE-4170-AA33-105B51D50F60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54" creationId="{6790EE85-9EA0-4D5C-80B0-621CA833153A}"/>
          </ac:spMkLst>
        </pc:spChg>
        <pc:spChg chg="add mod">
          <ac:chgData name="Philipp Theile | EWI" userId="389f5144-a239-4438-b72c-100d5483c819" providerId="ADAL" clId="{F09E99D6-B178-4DB3-AECB-60DA0AEF7478}" dt="2021-04-23T06:57:59.583" v="9364" actId="164"/>
          <ac:spMkLst>
            <pc:docMk/>
            <pc:sldMk cId="3713035471" sldId="273"/>
            <ac:spMk id="55" creationId="{ED594089-B7C3-4000-9FB8-4B41381E8B11}"/>
          </ac:spMkLst>
        </pc:spChg>
        <pc:spChg chg="add del mod">
          <ac:chgData name="Philipp Theile | EWI" userId="389f5144-a239-4438-b72c-100d5483c819" providerId="ADAL" clId="{F09E99D6-B178-4DB3-AECB-60DA0AEF7478}" dt="2021-04-20T13:53:30.351" v="5965" actId="478"/>
          <ac:spMkLst>
            <pc:docMk/>
            <pc:sldMk cId="3713035471" sldId="273"/>
            <ac:spMk id="56" creationId="{1F50B8CD-3529-44D4-BD89-B0A2BA9D7161}"/>
          </ac:spMkLst>
        </pc:spChg>
        <pc:spChg chg="add mod">
          <ac:chgData name="Philipp Theile | EWI" userId="389f5144-a239-4438-b72c-100d5483c819" providerId="ADAL" clId="{F09E99D6-B178-4DB3-AECB-60DA0AEF7478}" dt="2021-04-23T06:58:04.367" v="9365" actId="164"/>
          <ac:spMkLst>
            <pc:docMk/>
            <pc:sldMk cId="3713035471" sldId="273"/>
            <ac:spMk id="57" creationId="{C274162C-81C4-402D-A649-AF4E8971AA0D}"/>
          </ac:spMkLst>
        </pc:spChg>
        <pc:spChg chg="add mod">
          <ac:chgData name="Philipp Theile | EWI" userId="389f5144-a239-4438-b72c-100d5483c819" providerId="ADAL" clId="{F09E99D6-B178-4DB3-AECB-60DA0AEF7478}" dt="2021-04-23T06:58:04.367" v="9365" actId="164"/>
          <ac:spMkLst>
            <pc:docMk/>
            <pc:sldMk cId="3713035471" sldId="273"/>
            <ac:spMk id="58" creationId="{2752491D-3101-45D8-9312-93556D53DC2A}"/>
          </ac:spMkLst>
        </pc:spChg>
        <pc:spChg chg="add mod">
          <ac:chgData name="Philipp Theile | EWI" userId="389f5144-a239-4438-b72c-100d5483c819" providerId="ADAL" clId="{F09E99D6-B178-4DB3-AECB-60DA0AEF7478}" dt="2021-04-23T06:58:04.367" v="9365" actId="164"/>
          <ac:spMkLst>
            <pc:docMk/>
            <pc:sldMk cId="3713035471" sldId="273"/>
            <ac:spMk id="59" creationId="{BC52DEB4-BAF0-48A5-8009-BDE96FEB60CB}"/>
          </ac:spMkLst>
        </pc:spChg>
        <pc:spChg chg="add mod">
          <ac:chgData name="Philipp Theile | EWI" userId="389f5144-a239-4438-b72c-100d5483c819" providerId="ADAL" clId="{F09E99D6-B178-4DB3-AECB-60DA0AEF7478}" dt="2021-04-23T06:58:04.367" v="9365" actId="164"/>
          <ac:spMkLst>
            <pc:docMk/>
            <pc:sldMk cId="3713035471" sldId="273"/>
            <ac:spMk id="60" creationId="{25EA20B0-B25A-4AE3-9B8F-FD7A5FF4EE7D}"/>
          </ac:spMkLst>
        </pc:spChg>
        <pc:spChg chg="add mod">
          <ac:chgData name="Philipp Theile | EWI" userId="389f5144-a239-4438-b72c-100d5483c819" providerId="ADAL" clId="{F09E99D6-B178-4DB3-AECB-60DA0AEF7478}" dt="2021-04-23T06:58:14.429" v="9367" actId="164"/>
          <ac:spMkLst>
            <pc:docMk/>
            <pc:sldMk cId="3713035471" sldId="273"/>
            <ac:spMk id="61" creationId="{D49CB796-FC64-4444-9C1A-72B2902AC546}"/>
          </ac:spMkLst>
        </pc:spChg>
        <pc:spChg chg="add mod">
          <ac:chgData name="Philipp Theile | EWI" userId="389f5144-a239-4438-b72c-100d5483c819" providerId="ADAL" clId="{F09E99D6-B178-4DB3-AECB-60DA0AEF7478}" dt="2021-04-23T06:58:14.429" v="9367" actId="164"/>
          <ac:spMkLst>
            <pc:docMk/>
            <pc:sldMk cId="3713035471" sldId="273"/>
            <ac:spMk id="62" creationId="{80F01BD2-41C0-4396-9FD2-4DCD9A0B02B0}"/>
          </ac:spMkLst>
        </pc:spChg>
        <pc:spChg chg="add mod">
          <ac:chgData name="Philipp Theile | EWI" userId="389f5144-a239-4438-b72c-100d5483c819" providerId="ADAL" clId="{F09E99D6-B178-4DB3-AECB-60DA0AEF7478}" dt="2021-04-23T06:58:14.429" v="9367" actId="164"/>
          <ac:spMkLst>
            <pc:docMk/>
            <pc:sldMk cId="3713035471" sldId="273"/>
            <ac:spMk id="63" creationId="{C457BDF1-7246-44FA-B0FA-BD37F000C692}"/>
          </ac:spMkLst>
        </pc:spChg>
        <pc:spChg chg="add mod">
          <ac:chgData name="Philipp Theile | EWI" userId="389f5144-a239-4438-b72c-100d5483c819" providerId="ADAL" clId="{F09E99D6-B178-4DB3-AECB-60DA0AEF7478}" dt="2021-04-23T06:58:14.429" v="9367" actId="164"/>
          <ac:spMkLst>
            <pc:docMk/>
            <pc:sldMk cId="3713035471" sldId="273"/>
            <ac:spMk id="64" creationId="{18223212-2953-4A2D-9DA7-5A8C98421AAE}"/>
          </ac:spMkLst>
        </pc:spChg>
        <pc:spChg chg="add mod">
          <ac:chgData name="Philipp Theile | EWI" userId="389f5144-a239-4438-b72c-100d5483c819" providerId="ADAL" clId="{F09E99D6-B178-4DB3-AECB-60DA0AEF7478}" dt="2021-04-23T06:58:14.429" v="9367" actId="164"/>
          <ac:spMkLst>
            <pc:docMk/>
            <pc:sldMk cId="3713035471" sldId="273"/>
            <ac:spMk id="65" creationId="{7A40C07F-392A-495C-A97C-E9A3F9B15A6C}"/>
          </ac:spMkLst>
        </pc:spChg>
        <pc:spChg chg="add mod">
          <ac:chgData name="Philipp Theile | EWI" userId="389f5144-a239-4438-b72c-100d5483c819" providerId="ADAL" clId="{F09E99D6-B178-4DB3-AECB-60DA0AEF7478}" dt="2021-04-23T06:58:14.429" v="9367" actId="164"/>
          <ac:spMkLst>
            <pc:docMk/>
            <pc:sldMk cId="3713035471" sldId="273"/>
            <ac:spMk id="66" creationId="{F8B6BF12-6FE5-400B-96B0-B872429C8D55}"/>
          </ac:spMkLst>
        </pc:spChg>
        <pc:spChg chg="add mod">
          <ac:chgData name="Philipp Theile | EWI" userId="389f5144-a239-4438-b72c-100d5483c819" providerId="ADAL" clId="{F09E99D6-B178-4DB3-AECB-60DA0AEF7478}" dt="2021-04-23T12:44:46.834" v="9369" actId="1076"/>
          <ac:spMkLst>
            <pc:docMk/>
            <pc:sldMk cId="3713035471" sldId="273"/>
            <ac:spMk id="70" creationId="{934B459C-98AA-4892-BF52-312AC0F5ACB0}"/>
          </ac:spMkLst>
        </pc:spChg>
        <pc:spChg chg="add mod">
          <ac:chgData name="Philipp Theile | EWI" userId="389f5144-a239-4438-b72c-100d5483c819" providerId="ADAL" clId="{F09E99D6-B178-4DB3-AECB-60DA0AEF7478}" dt="2021-04-23T12:44:45.017" v="9368" actId="1076"/>
          <ac:spMkLst>
            <pc:docMk/>
            <pc:sldMk cId="3713035471" sldId="273"/>
            <ac:spMk id="72" creationId="{29B41012-A563-4211-9F02-D61660CE6404}"/>
          </ac:spMkLst>
        </pc:spChg>
        <pc:spChg chg="add del mod">
          <ac:chgData name="Philipp Theile | EWI" userId="389f5144-a239-4438-b72c-100d5483c819" providerId="ADAL" clId="{F09E99D6-B178-4DB3-AECB-60DA0AEF7478}" dt="2021-04-20T14:00:44.181" v="6170" actId="478"/>
          <ac:spMkLst>
            <pc:docMk/>
            <pc:sldMk cId="3713035471" sldId="273"/>
            <ac:spMk id="82" creationId="{27EB7FDE-C8D7-4443-82F0-778FE302A763}"/>
          </ac:spMkLst>
        </pc:spChg>
        <pc:spChg chg="add mod">
          <ac:chgData name="Philipp Theile | EWI" userId="389f5144-a239-4438-b72c-100d5483c819" providerId="ADAL" clId="{F09E99D6-B178-4DB3-AECB-60DA0AEF7478}" dt="2021-04-23T06:58:14.429" v="9367" actId="164"/>
          <ac:spMkLst>
            <pc:docMk/>
            <pc:sldMk cId="3713035471" sldId="273"/>
            <ac:spMk id="93" creationId="{BDAE1C8F-237F-4B59-9A94-0E77BB67E652}"/>
          </ac:spMkLst>
        </pc:spChg>
        <pc:grpChg chg="add mod">
          <ac:chgData name="Philipp Theile | EWI" userId="389f5144-a239-4438-b72c-100d5483c819" providerId="ADAL" clId="{F09E99D6-B178-4DB3-AECB-60DA0AEF7478}" dt="2021-04-23T06:57:59.583" v="9364" actId="164"/>
          <ac:grpSpMkLst>
            <pc:docMk/>
            <pc:sldMk cId="3713035471" sldId="273"/>
            <ac:grpSpMk id="3" creationId="{B0E463A8-E794-4BA3-A04C-81667FB0BC3B}"/>
          </ac:grpSpMkLst>
        </pc:grpChg>
        <pc:grpChg chg="add mod">
          <ac:chgData name="Philipp Theile | EWI" userId="389f5144-a239-4438-b72c-100d5483c819" providerId="ADAL" clId="{F09E99D6-B178-4DB3-AECB-60DA0AEF7478}" dt="2021-04-23T06:58:04.367" v="9365" actId="164"/>
          <ac:grpSpMkLst>
            <pc:docMk/>
            <pc:sldMk cId="3713035471" sldId="273"/>
            <ac:grpSpMk id="4" creationId="{F609D27A-1EC4-4103-A02A-56523C99C767}"/>
          </ac:grpSpMkLst>
        </pc:grpChg>
        <pc:grpChg chg="add mod">
          <ac:chgData name="Philipp Theile | EWI" userId="389f5144-a239-4438-b72c-100d5483c819" providerId="ADAL" clId="{F09E99D6-B178-4DB3-AECB-60DA0AEF7478}" dt="2021-04-23T06:58:09.182" v="9366" actId="164"/>
          <ac:grpSpMkLst>
            <pc:docMk/>
            <pc:sldMk cId="3713035471" sldId="273"/>
            <ac:grpSpMk id="5" creationId="{0C580888-61D1-450F-A157-A1960AE2E98D}"/>
          </ac:grpSpMkLst>
        </pc:grpChg>
        <pc:grpChg chg="add mod">
          <ac:chgData name="Philipp Theile | EWI" userId="389f5144-a239-4438-b72c-100d5483c819" providerId="ADAL" clId="{F09E99D6-B178-4DB3-AECB-60DA0AEF7478}" dt="2021-04-23T06:58:14.429" v="9367" actId="164"/>
          <ac:grpSpMkLst>
            <pc:docMk/>
            <pc:sldMk cId="3713035471" sldId="273"/>
            <ac:grpSpMk id="6" creationId="{72AB578D-667C-49D4-849A-64D62FFF3ECE}"/>
          </ac:grpSpMkLst>
        </pc:grpChg>
        <pc:grpChg chg="add mod">
          <ac:chgData name="Philipp Theile | EWI" userId="389f5144-a239-4438-b72c-100d5483c819" providerId="ADAL" clId="{F09E99D6-B178-4DB3-AECB-60DA0AEF7478}" dt="2021-04-23T06:57:59.583" v="9364" actId="164"/>
          <ac:grpSpMkLst>
            <pc:docMk/>
            <pc:sldMk cId="3713035471" sldId="273"/>
            <ac:grpSpMk id="37" creationId="{A9E62213-516F-4ED7-A867-75BF8453E846}"/>
          </ac:grpSpMkLst>
        </pc:grpChg>
        <pc:grpChg chg="add mod">
          <ac:chgData name="Philipp Theile | EWI" userId="389f5144-a239-4438-b72c-100d5483c819" providerId="ADAL" clId="{F09E99D6-B178-4DB3-AECB-60DA0AEF7478}" dt="2021-04-23T06:58:04.367" v="9365" actId="164"/>
          <ac:grpSpMkLst>
            <pc:docMk/>
            <pc:sldMk cId="3713035471" sldId="273"/>
            <ac:grpSpMk id="38" creationId="{CC7DEED6-64A4-46F4-8D0F-3595341C28DE}"/>
          </ac:grpSpMkLst>
        </pc:grpChg>
        <pc:grpChg chg="add mod">
          <ac:chgData name="Philipp Theile | EWI" userId="389f5144-a239-4438-b72c-100d5483c819" providerId="ADAL" clId="{F09E99D6-B178-4DB3-AECB-60DA0AEF7478}" dt="2021-04-23T06:58:14.429" v="9367" actId="164"/>
          <ac:grpSpMkLst>
            <pc:docMk/>
            <pc:sldMk cId="3713035471" sldId="273"/>
            <ac:grpSpMk id="41" creationId="{EA4DA14E-BFD6-455B-B3CF-9377E343E948}"/>
          </ac:grpSpMkLst>
        </pc:grpChg>
        <pc:grpChg chg="add mod">
          <ac:chgData name="Philipp Theile | EWI" userId="389f5144-a239-4438-b72c-100d5483c819" providerId="ADAL" clId="{F09E99D6-B178-4DB3-AECB-60DA0AEF7478}" dt="2021-04-23T06:58:09.182" v="9366" actId="164"/>
          <ac:grpSpMkLst>
            <pc:docMk/>
            <pc:sldMk cId="3713035471" sldId="273"/>
            <ac:grpSpMk id="67" creationId="{77FD29BB-6E3C-4ABC-BB12-7E21083EFE68}"/>
          </ac:grpSpMkLst>
        </pc:grpChg>
        <pc:cxnChg chg="del mod">
          <ac:chgData name="Philipp Theile | EWI" userId="389f5144-a239-4438-b72c-100d5483c819" providerId="ADAL" clId="{F09E99D6-B178-4DB3-AECB-60DA0AEF7478}" dt="2021-04-20T13:34:30.357" v="5562" actId="478"/>
          <ac:cxnSpMkLst>
            <pc:docMk/>
            <pc:sldMk cId="3713035471" sldId="273"/>
            <ac:cxnSpMk id="14" creationId="{2932FEFA-B382-490E-B326-E19D48CB0DD2}"/>
          </ac:cxnSpMkLst>
        </pc:cxnChg>
        <pc:cxnChg chg="del mod">
          <ac:chgData name="Philipp Theile | EWI" userId="389f5144-a239-4438-b72c-100d5483c819" providerId="ADAL" clId="{F09E99D6-B178-4DB3-AECB-60DA0AEF7478}" dt="2021-04-20T13:34:31.134" v="5563" actId="478"/>
          <ac:cxnSpMkLst>
            <pc:docMk/>
            <pc:sldMk cId="3713035471" sldId="273"/>
            <ac:cxnSpMk id="15" creationId="{317B426B-1DE6-4819-8793-7B32AC49C165}"/>
          </ac:cxnSpMkLst>
        </pc:cxnChg>
        <pc:cxnChg chg="del mod">
          <ac:chgData name="Philipp Theile | EWI" userId="389f5144-a239-4438-b72c-100d5483c819" providerId="ADAL" clId="{F09E99D6-B178-4DB3-AECB-60DA0AEF7478}" dt="2021-04-20T13:34:32.494" v="5564" actId="478"/>
          <ac:cxnSpMkLst>
            <pc:docMk/>
            <pc:sldMk cId="3713035471" sldId="273"/>
            <ac:cxnSpMk id="18" creationId="{25BDF4F8-90EF-48BE-9DA9-6C5BD217379D}"/>
          </ac:cxnSpMkLst>
        </pc:cxnChg>
        <pc:cxnChg chg="del mod">
          <ac:chgData name="Philipp Theile | EWI" userId="389f5144-a239-4438-b72c-100d5483c819" providerId="ADAL" clId="{F09E99D6-B178-4DB3-AECB-60DA0AEF7478}" dt="2021-04-20T13:34:33.574" v="5565" actId="478"/>
          <ac:cxnSpMkLst>
            <pc:docMk/>
            <pc:sldMk cId="3713035471" sldId="273"/>
            <ac:cxnSpMk id="21" creationId="{7964451A-D676-431A-BD3D-C63A7D08B42A}"/>
          </ac:cxnSpMkLst>
        </pc:cxnChg>
        <pc:cxnChg chg="add mod">
          <ac:chgData name="Philipp Theile | EWI" userId="389f5144-a239-4438-b72c-100d5483c819" providerId="ADAL" clId="{F09E99D6-B178-4DB3-AECB-60DA0AEF7478}" dt="2021-04-20T13:48:54.870" v="5890" actId="164"/>
          <ac:cxnSpMkLst>
            <pc:docMk/>
            <pc:sldMk cId="3713035471" sldId="273"/>
            <ac:cxnSpMk id="33" creationId="{2A3F84F8-9E3C-46C2-B665-21239AE30FD0}"/>
          </ac:cxnSpMkLst>
        </pc:cxnChg>
        <pc:cxnChg chg="add mod">
          <ac:chgData name="Philipp Theile | EWI" userId="389f5144-a239-4438-b72c-100d5483c819" providerId="ADAL" clId="{F09E99D6-B178-4DB3-AECB-60DA0AEF7478}" dt="2021-04-20T13:48:54.870" v="5890" actId="164"/>
          <ac:cxnSpMkLst>
            <pc:docMk/>
            <pc:sldMk cId="3713035471" sldId="273"/>
            <ac:cxnSpMk id="34" creationId="{795ADC82-F45B-422E-B010-CA5A0846DB29}"/>
          </ac:cxnSpMkLst>
        </pc:cxnChg>
        <pc:cxnChg chg="mod">
          <ac:chgData name="Philipp Theile | EWI" userId="389f5144-a239-4438-b72c-100d5483c819" providerId="ADAL" clId="{F09E99D6-B178-4DB3-AECB-60DA0AEF7478}" dt="2021-04-20T13:49:33.007" v="5909"/>
          <ac:cxnSpMkLst>
            <pc:docMk/>
            <pc:sldMk cId="3713035471" sldId="273"/>
            <ac:cxnSpMk id="39" creationId="{148C4C33-60CC-41AD-9A98-4AFE5A343CCE}"/>
          </ac:cxnSpMkLst>
        </pc:cxnChg>
        <pc:cxnChg chg="mod">
          <ac:chgData name="Philipp Theile | EWI" userId="389f5144-a239-4438-b72c-100d5483c819" providerId="ADAL" clId="{F09E99D6-B178-4DB3-AECB-60DA0AEF7478}" dt="2021-04-20T13:49:33.007" v="5909"/>
          <ac:cxnSpMkLst>
            <pc:docMk/>
            <pc:sldMk cId="3713035471" sldId="273"/>
            <ac:cxnSpMk id="40" creationId="{6482AC20-0FCD-4B3A-A267-B630F48395FC}"/>
          </ac:cxnSpMkLst>
        </pc:cxnChg>
        <pc:cxnChg chg="mod">
          <ac:chgData name="Philipp Theile | EWI" userId="389f5144-a239-4438-b72c-100d5483c819" providerId="ADAL" clId="{F09E99D6-B178-4DB3-AECB-60DA0AEF7478}" dt="2021-04-20T13:49:33.006" v="5907"/>
          <ac:cxnSpMkLst>
            <pc:docMk/>
            <pc:sldMk cId="3713035471" sldId="273"/>
            <ac:cxnSpMk id="42" creationId="{97174AD8-1206-4796-A17A-58C14A7E59C9}"/>
          </ac:cxnSpMkLst>
        </pc:cxnChg>
        <pc:cxnChg chg="mod">
          <ac:chgData name="Philipp Theile | EWI" userId="389f5144-a239-4438-b72c-100d5483c819" providerId="ADAL" clId="{F09E99D6-B178-4DB3-AECB-60DA0AEF7478}" dt="2021-04-20T13:49:33.006" v="5907"/>
          <ac:cxnSpMkLst>
            <pc:docMk/>
            <pc:sldMk cId="3713035471" sldId="273"/>
            <ac:cxnSpMk id="43" creationId="{A473D4AE-E1B8-47D9-806A-41B4280A6FAC}"/>
          </ac:cxnSpMkLst>
        </pc:cxnChg>
        <pc:cxnChg chg="mod">
          <ac:chgData name="Philipp Theile | EWI" userId="389f5144-a239-4438-b72c-100d5483c819" providerId="ADAL" clId="{F09E99D6-B178-4DB3-AECB-60DA0AEF7478}" dt="2021-04-20T13:57:54.213" v="6119"/>
          <ac:cxnSpMkLst>
            <pc:docMk/>
            <pc:sldMk cId="3713035471" sldId="273"/>
            <ac:cxnSpMk id="68" creationId="{96F50AC0-FEDC-4A88-B54E-4F9BFFB490A2}"/>
          </ac:cxnSpMkLst>
        </pc:cxnChg>
        <pc:cxnChg chg="mod">
          <ac:chgData name="Philipp Theile | EWI" userId="389f5144-a239-4438-b72c-100d5483c819" providerId="ADAL" clId="{F09E99D6-B178-4DB3-AECB-60DA0AEF7478}" dt="2021-04-20T13:57:54.213" v="6119"/>
          <ac:cxnSpMkLst>
            <pc:docMk/>
            <pc:sldMk cId="3713035471" sldId="273"/>
            <ac:cxnSpMk id="69" creationId="{6FC31A61-2CB7-4A09-936E-21BFED01B0D3}"/>
          </ac:cxnSpMkLst>
        </pc:cxnChg>
        <pc:cxnChg chg="add mod">
          <ac:chgData name="Philipp Theile | EWI" userId="389f5144-a239-4438-b72c-100d5483c819" providerId="ADAL" clId="{F09E99D6-B178-4DB3-AECB-60DA0AEF7478}" dt="2021-04-23T06:58:09.182" v="9366" actId="164"/>
          <ac:cxnSpMkLst>
            <pc:docMk/>
            <pc:sldMk cId="3713035471" sldId="273"/>
            <ac:cxnSpMk id="71" creationId="{92FC366F-996C-4B9B-B927-A7965D6B41A5}"/>
          </ac:cxnSpMkLst>
        </pc:cxnChg>
        <pc:cxnChg chg="add mod">
          <ac:chgData name="Philipp Theile | EWI" userId="389f5144-a239-4438-b72c-100d5483c819" providerId="ADAL" clId="{F09E99D6-B178-4DB3-AECB-60DA0AEF7478}" dt="2021-04-23T06:58:09.182" v="9366" actId="164"/>
          <ac:cxnSpMkLst>
            <pc:docMk/>
            <pc:sldMk cId="3713035471" sldId="273"/>
            <ac:cxnSpMk id="73" creationId="{54F6CDA7-2C25-48BD-B349-8BEA19E2B766}"/>
          </ac:cxnSpMkLst>
        </pc:cxnChg>
        <pc:cxnChg chg="add mod">
          <ac:chgData name="Philipp Theile | EWI" userId="389f5144-a239-4438-b72c-100d5483c819" providerId="ADAL" clId="{F09E99D6-B178-4DB3-AECB-60DA0AEF7478}" dt="2021-04-23T06:58:09.182" v="9366" actId="164"/>
          <ac:cxnSpMkLst>
            <pc:docMk/>
            <pc:sldMk cId="3713035471" sldId="273"/>
            <ac:cxnSpMk id="75" creationId="{4A489F8C-2E32-43EA-BFCC-2C7F0AB753BD}"/>
          </ac:cxnSpMkLst>
        </pc:cxnChg>
        <pc:cxnChg chg="add mod">
          <ac:chgData name="Philipp Theile | EWI" userId="389f5144-a239-4438-b72c-100d5483c819" providerId="ADAL" clId="{F09E99D6-B178-4DB3-AECB-60DA0AEF7478}" dt="2021-04-23T06:58:09.182" v="9366" actId="164"/>
          <ac:cxnSpMkLst>
            <pc:docMk/>
            <pc:sldMk cId="3713035471" sldId="273"/>
            <ac:cxnSpMk id="76" creationId="{A6AC5BE4-E46C-410A-BBA2-C97E9A911EBB}"/>
          </ac:cxnSpMkLst>
        </pc:cxnChg>
        <pc:cxnChg chg="add mod">
          <ac:chgData name="Philipp Theile | EWI" userId="389f5144-a239-4438-b72c-100d5483c819" providerId="ADAL" clId="{F09E99D6-B178-4DB3-AECB-60DA0AEF7478}" dt="2021-04-23T06:58:09.182" v="9366" actId="164"/>
          <ac:cxnSpMkLst>
            <pc:docMk/>
            <pc:sldMk cId="3713035471" sldId="273"/>
            <ac:cxnSpMk id="77" creationId="{4B97FE2B-A4FA-472F-B7AF-10030A478B55}"/>
          </ac:cxnSpMkLst>
        </pc:cxnChg>
        <pc:cxnChg chg="add mod">
          <ac:chgData name="Philipp Theile | EWI" userId="389f5144-a239-4438-b72c-100d5483c819" providerId="ADAL" clId="{F09E99D6-B178-4DB3-AECB-60DA0AEF7478}" dt="2021-04-23T06:58:09.182" v="9366" actId="164"/>
          <ac:cxnSpMkLst>
            <pc:docMk/>
            <pc:sldMk cId="3713035471" sldId="273"/>
            <ac:cxnSpMk id="78" creationId="{A785CC8D-E83B-49D1-A53A-9E8CB2CF23AB}"/>
          </ac:cxnSpMkLst>
        </pc:cxnChg>
        <pc:cxnChg chg="add mod">
          <ac:chgData name="Philipp Theile | EWI" userId="389f5144-a239-4438-b72c-100d5483c819" providerId="ADAL" clId="{F09E99D6-B178-4DB3-AECB-60DA0AEF7478}" dt="2021-04-23T06:58:09.182" v="9366" actId="164"/>
          <ac:cxnSpMkLst>
            <pc:docMk/>
            <pc:sldMk cId="3713035471" sldId="273"/>
            <ac:cxnSpMk id="79" creationId="{8A12D1B2-4F51-4A2D-865F-DD8A8DC086EA}"/>
          </ac:cxnSpMkLst>
        </pc:cxnChg>
        <pc:cxnChg chg="add mod">
          <ac:chgData name="Philipp Theile | EWI" userId="389f5144-a239-4438-b72c-100d5483c819" providerId="ADAL" clId="{F09E99D6-B178-4DB3-AECB-60DA0AEF7478}" dt="2021-04-23T06:58:09.182" v="9366" actId="164"/>
          <ac:cxnSpMkLst>
            <pc:docMk/>
            <pc:sldMk cId="3713035471" sldId="273"/>
            <ac:cxnSpMk id="80" creationId="{04B781F0-6AFE-472C-8E4A-B22AD5900476}"/>
          </ac:cxnSpMkLst>
        </pc:cxnChg>
        <pc:cxnChg chg="add mod">
          <ac:chgData name="Philipp Theile | EWI" userId="389f5144-a239-4438-b72c-100d5483c819" providerId="ADAL" clId="{F09E99D6-B178-4DB3-AECB-60DA0AEF7478}" dt="2021-04-20T14:01:12.988" v="6178" actId="208"/>
          <ac:cxnSpMkLst>
            <pc:docMk/>
            <pc:sldMk cId="3713035471" sldId="273"/>
            <ac:cxnSpMk id="84" creationId="{744B8330-0D20-46E4-9A1E-5489CC5881DF}"/>
          </ac:cxnSpMkLst>
        </pc:cxnChg>
        <pc:cxnChg chg="add mod">
          <ac:chgData name="Philipp Theile | EWI" userId="389f5144-a239-4438-b72c-100d5483c819" providerId="ADAL" clId="{F09E99D6-B178-4DB3-AECB-60DA0AEF7478}" dt="2021-04-20T14:02:08.462" v="6198"/>
          <ac:cxnSpMkLst>
            <pc:docMk/>
            <pc:sldMk cId="3713035471" sldId="273"/>
            <ac:cxnSpMk id="87" creationId="{43659A63-9006-4651-B942-D7591C342B10}"/>
          </ac:cxnSpMkLst>
        </pc:cxnChg>
        <pc:cxnChg chg="add mod">
          <ac:chgData name="Philipp Theile | EWI" userId="389f5144-a239-4438-b72c-100d5483c819" providerId="ADAL" clId="{F09E99D6-B178-4DB3-AECB-60DA0AEF7478}" dt="2021-04-20T14:02:05.221" v="6196"/>
          <ac:cxnSpMkLst>
            <pc:docMk/>
            <pc:sldMk cId="3713035471" sldId="273"/>
            <ac:cxnSpMk id="90" creationId="{6F781D0A-E5AD-45DF-9FB1-3B4BBEC59CCE}"/>
          </ac:cxnSpMkLst>
        </pc:cxnChg>
      </pc:sldChg>
      <pc:sldChg chg="addSp delSp modSp add mod">
        <pc:chgData name="Philipp Theile | EWI" userId="389f5144-a239-4438-b72c-100d5483c819" providerId="ADAL" clId="{F09E99D6-B178-4DB3-AECB-60DA0AEF7478}" dt="2021-04-28T13:44:32.249" v="17152" actId="1076"/>
        <pc:sldMkLst>
          <pc:docMk/>
          <pc:sldMk cId="1584105889" sldId="274"/>
        </pc:sldMkLst>
        <pc:spChg chg="mod">
          <ac:chgData name="Philipp Theile | EWI" userId="389f5144-a239-4438-b72c-100d5483c819" providerId="ADAL" clId="{F09E99D6-B178-4DB3-AECB-60DA0AEF7478}" dt="2021-04-19T09:23:29.011" v="2348" actId="20577"/>
          <ac:spMkLst>
            <pc:docMk/>
            <pc:sldMk cId="1584105889" sldId="274"/>
            <ac:spMk id="3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28T07:21:38.459" v="13123" actId="20577"/>
          <ac:spMkLst>
            <pc:docMk/>
            <pc:sldMk cId="1584105889" sldId="274"/>
            <ac:spMk id="4" creationId="{0148489E-07FF-4BBE-AC81-285AC8555FBA}"/>
          </ac:spMkLst>
        </pc:spChg>
        <pc:spChg chg="add del mod">
          <ac:chgData name="Philipp Theile | EWI" userId="389f5144-a239-4438-b72c-100d5483c819" providerId="ADAL" clId="{F09E99D6-B178-4DB3-AECB-60DA0AEF7478}" dt="2021-04-25T11:30:16.687" v="9996"/>
          <ac:spMkLst>
            <pc:docMk/>
            <pc:sldMk cId="1584105889" sldId="274"/>
            <ac:spMk id="5" creationId="{14AF4F2E-B6E0-4EE8-9246-8BDD3D4E5F53}"/>
          </ac:spMkLst>
        </pc:spChg>
        <pc:spChg chg="add del mod">
          <ac:chgData name="Philipp Theile | EWI" userId="389f5144-a239-4438-b72c-100d5483c819" providerId="ADAL" clId="{F09E99D6-B178-4DB3-AECB-60DA0AEF7478}" dt="2021-04-28T07:13:05.256" v="13089" actId="478"/>
          <ac:spMkLst>
            <pc:docMk/>
            <pc:sldMk cId="1584105889" sldId="274"/>
            <ac:spMk id="6" creationId="{0F2597C8-BB16-4C16-8B8B-C8903C4FBD2E}"/>
          </ac:spMkLst>
        </pc:spChg>
        <pc:spChg chg="add del mod">
          <ac:chgData name="Philipp Theile | EWI" userId="389f5144-a239-4438-b72c-100d5483c819" providerId="ADAL" clId="{F09E99D6-B178-4DB3-AECB-60DA0AEF7478}" dt="2021-04-25T14:32:22.271" v="11621" actId="21"/>
          <ac:spMkLst>
            <pc:docMk/>
            <pc:sldMk cId="1584105889" sldId="274"/>
            <ac:spMk id="6" creationId="{D120EC8B-7E03-4905-A226-0C40F66EFFCD}"/>
          </ac:spMkLst>
        </pc:spChg>
        <pc:spChg chg="add del mod">
          <ac:chgData name="Philipp Theile | EWI" userId="389f5144-a239-4438-b72c-100d5483c819" providerId="ADAL" clId="{F09E99D6-B178-4DB3-AECB-60DA0AEF7478}" dt="2021-04-25T14:32:17.218" v="11620" actId="478"/>
          <ac:spMkLst>
            <pc:docMk/>
            <pc:sldMk cId="1584105889" sldId="274"/>
            <ac:spMk id="7" creationId="{7C658DF7-6DA2-42D9-B4B4-BBF74CDEE2BC}"/>
          </ac:spMkLst>
        </pc:spChg>
        <pc:spChg chg="add del mod">
          <ac:chgData name="Philipp Theile | EWI" userId="389f5144-a239-4438-b72c-100d5483c819" providerId="ADAL" clId="{F09E99D6-B178-4DB3-AECB-60DA0AEF7478}" dt="2021-04-25T14:32:28.239" v="11623" actId="21"/>
          <ac:spMkLst>
            <pc:docMk/>
            <pc:sldMk cId="1584105889" sldId="274"/>
            <ac:spMk id="8" creationId="{8D3D11E4-B5DB-46A6-876D-BD75387635BA}"/>
          </ac:spMkLst>
        </pc:spChg>
        <pc:spChg chg="add del mod">
          <ac:chgData name="Philipp Theile | EWI" userId="389f5144-a239-4438-b72c-100d5483c819" providerId="ADAL" clId="{F09E99D6-B178-4DB3-AECB-60DA0AEF7478}" dt="2021-04-28T13:43:58.331" v="17143" actId="478"/>
          <ac:spMkLst>
            <pc:docMk/>
            <pc:sldMk cId="1584105889" sldId="274"/>
            <ac:spMk id="9" creationId="{E623240B-B2D1-4841-870D-1967A148D6CF}"/>
          </ac:spMkLst>
        </pc:spChg>
        <pc:spChg chg="add mod">
          <ac:chgData name="Philipp Theile | EWI" userId="389f5144-a239-4438-b72c-100d5483c819" providerId="ADAL" clId="{F09E99D6-B178-4DB3-AECB-60DA0AEF7478}" dt="2021-04-25T14:36:52.532" v="12117" actId="20577"/>
          <ac:spMkLst>
            <pc:docMk/>
            <pc:sldMk cId="1584105889" sldId="274"/>
            <ac:spMk id="13" creationId="{49BCA8A8-C0E0-4C15-99B1-0CA8A8D3290A}"/>
          </ac:spMkLst>
        </pc:spChg>
        <pc:picChg chg="add mod ord">
          <ac:chgData name="Philipp Theile | EWI" userId="389f5144-a239-4438-b72c-100d5483c819" providerId="ADAL" clId="{F09E99D6-B178-4DB3-AECB-60DA0AEF7478}" dt="2021-04-28T13:44:32.249" v="17152" actId="1076"/>
          <ac:picMkLst>
            <pc:docMk/>
            <pc:sldMk cId="1584105889" sldId="274"/>
            <ac:picMk id="6" creationId="{9CAD3975-A56E-43FE-943A-35D15CDE98F9}"/>
          </ac:picMkLst>
        </pc:picChg>
        <pc:picChg chg="add del mod">
          <ac:chgData name="Philipp Theile | EWI" userId="389f5144-a239-4438-b72c-100d5483c819" providerId="ADAL" clId="{F09E99D6-B178-4DB3-AECB-60DA0AEF7478}" dt="2021-04-28T07:13:01.931" v="13088" actId="478"/>
          <ac:picMkLst>
            <pc:docMk/>
            <pc:sldMk cId="1584105889" sldId="274"/>
            <ac:picMk id="10" creationId="{3023E190-24BA-4A89-87A3-53D777FAEC73}"/>
          </ac:picMkLst>
        </pc:picChg>
        <pc:picChg chg="add del mod">
          <ac:chgData name="Philipp Theile | EWI" userId="389f5144-a239-4438-b72c-100d5483c819" providerId="ADAL" clId="{F09E99D6-B178-4DB3-AECB-60DA0AEF7478}" dt="2021-04-28T13:44:10.947" v="17145" actId="478"/>
          <ac:picMkLst>
            <pc:docMk/>
            <pc:sldMk cId="1584105889" sldId="274"/>
            <ac:picMk id="11" creationId="{24DFE00E-81C9-45F6-852A-0E0E7470A757}"/>
          </ac:picMkLst>
        </pc:picChg>
        <pc:picChg chg="del">
          <ac:chgData name="Philipp Theile | EWI" userId="389f5144-a239-4438-b72c-100d5483c819" providerId="ADAL" clId="{F09E99D6-B178-4DB3-AECB-60DA0AEF7478}" dt="2021-04-25T11:22:37.790" v="9974" actId="478"/>
          <ac:picMkLst>
            <pc:docMk/>
            <pc:sldMk cId="1584105889" sldId="274"/>
            <ac:picMk id="11" creationId="{355FA847-030A-4547-B9E5-B7E091C24588}"/>
          </ac:picMkLst>
        </pc:picChg>
        <pc:picChg chg="del">
          <ac:chgData name="Philipp Theile | EWI" userId="389f5144-a239-4438-b72c-100d5483c819" providerId="ADAL" clId="{F09E99D6-B178-4DB3-AECB-60DA0AEF7478}" dt="2021-04-25T11:22:40.873" v="9976" actId="478"/>
          <ac:picMkLst>
            <pc:docMk/>
            <pc:sldMk cId="1584105889" sldId="274"/>
            <ac:picMk id="12" creationId="{CFC442BD-B03E-4E0A-8B80-043EE46F083A}"/>
          </ac:picMkLst>
        </pc:picChg>
      </pc:sldChg>
      <pc:sldChg chg="modSp add del mod">
        <pc:chgData name="Philipp Theile | EWI" userId="389f5144-a239-4438-b72c-100d5483c819" providerId="ADAL" clId="{F09E99D6-B178-4DB3-AECB-60DA0AEF7478}" dt="2021-04-19T09:23:03.708" v="2346" actId="47"/>
        <pc:sldMkLst>
          <pc:docMk/>
          <pc:sldMk cId="2412658159" sldId="275"/>
        </pc:sldMkLst>
        <pc:spChg chg="mod">
          <ac:chgData name="Philipp Theile | EWI" userId="389f5144-a239-4438-b72c-100d5483c819" providerId="ADAL" clId="{F09E99D6-B178-4DB3-AECB-60DA0AEF7478}" dt="2021-04-19T09:12:57.955" v="2003" actId="20577"/>
          <ac:spMkLst>
            <pc:docMk/>
            <pc:sldMk cId="2412658159" sldId="275"/>
            <ac:spMk id="3" creationId="{00000000-0000-0000-0000-000000000000}"/>
          </ac:spMkLst>
        </pc:spChg>
      </pc:sldChg>
      <pc:sldChg chg="addSp delSp modSp add mod delAnim modNotesTx">
        <pc:chgData name="Philipp Theile | EWI" userId="389f5144-a239-4438-b72c-100d5483c819" providerId="ADAL" clId="{F09E99D6-B178-4DB3-AECB-60DA0AEF7478}" dt="2021-04-28T13:43:52.921" v="17141" actId="1076"/>
        <pc:sldMkLst>
          <pc:docMk/>
          <pc:sldMk cId="3240953706" sldId="276"/>
        </pc:sldMkLst>
        <pc:spChg chg="mod">
          <ac:chgData name="Philipp Theile | EWI" userId="389f5144-a239-4438-b72c-100d5483c819" providerId="ADAL" clId="{F09E99D6-B178-4DB3-AECB-60DA0AEF7478}" dt="2021-04-19T09:13:39.068" v="2110" actId="20577"/>
          <ac:spMkLst>
            <pc:docMk/>
            <pc:sldMk cId="3240953706" sldId="276"/>
            <ac:spMk id="3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28T07:19:35.408" v="13112" actId="20577"/>
          <ac:spMkLst>
            <pc:docMk/>
            <pc:sldMk cId="3240953706" sldId="276"/>
            <ac:spMk id="4" creationId="{52BE68E2-5B26-4B92-84E3-B25445D47079}"/>
          </ac:spMkLst>
        </pc:spChg>
        <pc:spChg chg="add del mod">
          <ac:chgData name="Philipp Theile | EWI" userId="389f5144-a239-4438-b72c-100d5483c819" providerId="ADAL" clId="{F09E99D6-B178-4DB3-AECB-60DA0AEF7478}" dt="2021-04-25T11:26:33.790" v="9984"/>
          <ac:spMkLst>
            <pc:docMk/>
            <pc:sldMk cId="3240953706" sldId="276"/>
            <ac:spMk id="5" creationId="{0366836B-B20D-4275-87FE-C1D6352843FE}"/>
          </ac:spMkLst>
        </pc:spChg>
        <pc:spChg chg="add del mod">
          <ac:chgData name="Philipp Theile | EWI" userId="389f5144-a239-4438-b72c-100d5483c819" providerId="ADAL" clId="{F09E99D6-B178-4DB3-AECB-60DA0AEF7478}" dt="2021-04-28T13:43:34.064" v="17136" actId="478"/>
          <ac:spMkLst>
            <pc:docMk/>
            <pc:sldMk cId="3240953706" sldId="276"/>
            <ac:spMk id="5" creationId="{83D14085-721C-4E83-B7F1-82D9880B35BC}"/>
          </ac:spMkLst>
        </pc:spChg>
        <pc:spChg chg="mod">
          <ac:chgData name="Philipp Theile | EWI" userId="389f5144-a239-4438-b72c-100d5483c819" providerId="ADAL" clId="{F09E99D6-B178-4DB3-AECB-60DA0AEF7478}" dt="2021-04-28T09:46:28.989" v="13875" actId="20577"/>
          <ac:spMkLst>
            <pc:docMk/>
            <pc:sldMk cId="3240953706" sldId="276"/>
            <ac:spMk id="8" creationId="{F3BB42BE-0582-4CF0-B6B1-1C67ADA537C7}"/>
          </ac:spMkLst>
        </pc:spChg>
        <pc:spChg chg="add del mod">
          <ac:chgData name="Philipp Theile | EWI" userId="389f5144-a239-4438-b72c-100d5483c819" providerId="ADAL" clId="{F09E99D6-B178-4DB3-AECB-60DA0AEF7478}" dt="2021-04-26T17:53:44.470" v="13038" actId="478"/>
          <ac:spMkLst>
            <pc:docMk/>
            <pc:sldMk cId="3240953706" sldId="276"/>
            <ac:spMk id="8" creationId="{FDD8B891-3E06-46A6-8391-F7037A4EC3BB}"/>
          </ac:spMkLst>
        </pc:spChg>
        <pc:spChg chg="add del mod">
          <ac:chgData name="Philipp Theile | EWI" userId="389f5144-a239-4438-b72c-100d5483c819" providerId="ADAL" clId="{F09E99D6-B178-4DB3-AECB-60DA0AEF7478}" dt="2021-04-21T09:54:53.909" v="9049" actId="478"/>
          <ac:spMkLst>
            <pc:docMk/>
            <pc:sldMk cId="3240953706" sldId="276"/>
            <ac:spMk id="9" creationId="{AD148061-E643-4E37-8382-D147DC5810CB}"/>
          </ac:spMkLst>
        </pc:spChg>
        <pc:spChg chg="add mod">
          <ac:chgData name="Philipp Theile | EWI" userId="389f5144-a239-4438-b72c-100d5483c819" providerId="ADAL" clId="{F09E99D6-B178-4DB3-AECB-60DA0AEF7478}" dt="2021-04-25T11:27:06.610" v="9994" actId="1076"/>
          <ac:spMkLst>
            <pc:docMk/>
            <pc:sldMk cId="3240953706" sldId="276"/>
            <ac:spMk id="10" creationId="{2B5607B3-4F2B-4606-ABD2-02C8B5FE8415}"/>
          </ac:spMkLst>
        </pc:spChg>
        <pc:spChg chg="add del mod">
          <ac:chgData name="Philipp Theile | EWI" userId="389f5144-a239-4438-b72c-100d5483c819" providerId="ADAL" clId="{F09E99D6-B178-4DB3-AECB-60DA0AEF7478}" dt="2021-04-26T17:53:40.264" v="13037" actId="478"/>
          <ac:spMkLst>
            <pc:docMk/>
            <pc:sldMk cId="3240953706" sldId="276"/>
            <ac:spMk id="11" creationId="{038592CC-2C67-4988-9B7F-4321C9F71810}"/>
          </ac:spMkLst>
        </pc:spChg>
        <pc:spChg chg="add del mod">
          <ac:chgData name="Philipp Theile | EWI" userId="389f5144-a239-4438-b72c-100d5483c819" providerId="ADAL" clId="{F09E99D6-B178-4DB3-AECB-60DA0AEF7478}" dt="2021-04-25T12:52:19.122" v="10457" actId="478"/>
          <ac:spMkLst>
            <pc:docMk/>
            <pc:sldMk cId="3240953706" sldId="276"/>
            <ac:spMk id="16" creationId="{B7972A31-50FF-4979-953E-887A6BC1EBE1}"/>
          </ac:spMkLst>
        </pc:spChg>
        <pc:spChg chg="add mod">
          <ac:chgData name="Philipp Theile | EWI" userId="389f5144-a239-4438-b72c-100d5483c819" providerId="ADAL" clId="{F09E99D6-B178-4DB3-AECB-60DA0AEF7478}" dt="2021-04-26T08:45:29.007" v="13034" actId="20577"/>
          <ac:spMkLst>
            <pc:docMk/>
            <pc:sldMk cId="3240953706" sldId="276"/>
            <ac:spMk id="17" creationId="{ECB1366B-826B-4845-B351-7B117E8227EE}"/>
          </ac:spMkLst>
        </pc:spChg>
        <pc:spChg chg="add del mod">
          <ac:chgData name="Philipp Theile | EWI" userId="389f5144-a239-4438-b72c-100d5483c819" providerId="ADAL" clId="{F09E99D6-B178-4DB3-AECB-60DA0AEF7478}" dt="2021-04-26T08:40:07.998" v="13033" actId="478"/>
          <ac:spMkLst>
            <pc:docMk/>
            <pc:sldMk cId="3240953706" sldId="276"/>
            <ac:spMk id="26" creationId="{4D32F2C4-9539-4C05-868E-B9AA10917DD3}"/>
          </ac:spMkLst>
        </pc:spChg>
        <pc:picChg chg="add del mod">
          <ac:chgData name="Philipp Theile | EWI" userId="389f5144-a239-4438-b72c-100d5483c819" providerId="ADAL" clId="{F09E99D6-B178-4DB3-AECB-60DA0AEF7478}" dt="2021-04-28T13:43:40.142" v="17138" actId="478"/>
          <ac:picMkLst>
            <pc:docMk/>
            <pc:sldMk cId="3240953706" sldId="276"/>
            <ac:picMk id="6" creationId="{8CB2EBF6-26D9-40D9-B4F8-E1A76943D0FC}"/>
          </ac:picMkLst>
        </pc:picChg>
        <pc:picChg chg="del mod">
          <ac:chgData name="Philipp Theile | EWI" userId="389f5144-a239-4438-b72c-100d5483c819" providerId="ADAL" clId="{F09E99D6-B178-4DB3-AECB-60DA0AEF7478}" dt="2021-04-25T11:20:35.111" v="9970" actId="478"/>
          <ac:picMkLst>
            <pc:docMk/>
            <pc:sldMk cId="3240953706" sldId="276"/>
            <ac:picMk id="6" creationId="{DD59EAB8-6C20-49D1-B767-42BBC2C2396E}"/>
          </ac:picMkLst>
        </pc:picChg>
        <pc:picChg chg="del mod">
          <ac:chgData name="Philipp Theile | EWI" userId="389f5144-a239-4438-b72c-100d5483c819" providerId="ADAL" clId="{F09E99D6-B178-4DB3-AECB-60DA0AEF7478}" dt="2021-04-25T11:20:39.507" v="9972" actId="478"/>
          <ac:picMkLst>
            <pc:docMk/>
            <pc:sldMk cId="3240953706" sldId="276"/>
            <ac:picMk id="7" creationId="{DA9637BB-77FC-42B7-AFDD-D8BCD3B078B0}"/>
          </ac:picMkLst>
        </pc:picChg>
        <pc:picChg chg="add mod">
          <ac:chgData name="Philipp Theile | EWI" userId="389f5144-a239-4438-b72c-100d5483c819" providerId="ADAL" clId="{F09E99D6-B178-4DB3-AECB-60DA0AEF7478}" dt="2021-04-28T13:43:52.921" v="17141" actId="1076"/>
          <ac:picMkLst>
            <pc:docMk/>
            <pc:sldMk cId="3240953706" sldId="276"/>
            <ac:picMk id="10" creationId="{B5F24F83-B51C-4732-8D39-817AB1D16F68}"/>
          </ac:picMkLst>
        </pc:picChg>
        <pc:picChg chg="add del mod">
          <ac:chgData name="Philipp Theile | EWI" userId="389f5144-a239-4438-b72c-100d5483c819" providerId="ADAL" clId="{F09E99D6-B178-4DB3-AECB-60DA0AEF7478}" dt="2021-04-25T12:52:13.982" v="10456" actId="478"/>
          <ac:picMkLst>
            <pc:docMk/>
            <pc:sldMk cId="3240953706" sldId="276"/>
            <ac:picMk id="12" creationId="{1F1E23A6-D8D4-4266-98F8-09DC540CCF65}"/>
          </ac:picMkLst>
        </pc:picChg>
        <pc:picChg chg="add del mod">
          <ac:chgData name="Philipp Theile | EWI" userId="389f5144-a239-4438-b72c-100d5483c819" providerId="ADAL" clId="{F09E99D6-B178-4DB3-AECB-60DA0AEF7478}" dt="2021-04-25T14:18:41.859" v="11022" actId="478"/>
          <ac:picMkLst>
            <pc:docMk/>
            <pc:sldMk cId="3240953706" sldId="276"/>
            <ac:picMk id="14" creationId="{AD612DC3-29D9-4F5E-A703-3F5444839815}"/>
          </ac:picMkLst>
        </pc:picChg>
        <pc:picChg chg="add del mod">
          <ac:chgData name="Philipp Theile | EWI" userId="389f5144-a239-4438-b72c-100d5483c819" providerId="ADAL" clId="{F09E99D6-B178-4DB3-AECB-60DA0AEF7478}" dt="2021-04-25T14:14:36.106" v="11017" actId="478"/>
          <ac:picMkLst>
            <pc:docMk/>
            <pc:sldMk cId="3240953706" sldId="276"/>
            <ac:picMk id="19" creationId="{E540B3A3-7012-4062-9845-1F60F1265BEA}"/>
          </ac:picMkLst>
        </pc:picChg>
        <pc:picChg chg="add del mod">
          <ac:chgData name="Philipp Theile | EWI" userId="389f5144-a239-4438-b72c-100d5483c819" providerId="ADAL" clId="{F09E99D6-B178-4DB3-AECB-60DA0AEF7478}" dt="2021-04-25T14:16:05.251" v="11021" actId="478"/>
          <ac:picMkLst>
            <pc:docMk/>
            <pc:sldMk cId="3240953706" sldId="276"/>
            <ac:picMk id="21" creationId="{B01BAD5D-D43B-4ED0-9897-10D563E5D42E}"/>
          </ac:picMkLst>
        </pc:picChg>
        <pc:picChg chg="add del mod">
          <ac:chgData name="Philipp Theile | EWI" userId="389f5144-a239-4438-b72c-100d5483c819" providerId="ADAL" clId="{F09E99D6-B178-4DB3-AECB-60DA0AEF7478}" dt="2021-04-25T14:18:45.467" v="11024" actId="478"/>
          <ac:picMkLst>
            <pc:docMk/>
            <pc:sldMk cId="3240953706" sldId="276"/>
            <ac:picMk id="23" creationId="{621A57A0-EAC5-4C51-94A7-7224527593C3}"/>
          </ac:picMkLst>
        </pc:picChg>
        <pc:picChg chg="add del mod">
          <ac:chgData name="Philipp Theile | EWI" userId="389f5144-a239-4438-b72c-100d5483c819" providerId="ADAL" clId="{F09E99D6-B178-4DB3-AECB-60DA0AEF7478}" dt="2021-04-28T07:13:37.812" v="13094" actId="478"/>
          <ac:picMkLst>
            <pc:docMk/>
            <pc:sldMk cId="3240953706" sldId="276"/>
            <ac:picMk id="25" creationId="{CB50707C-286A-416E-8984-37389832C650}"/>
          </ac:picMkLst>
        </pc:picChg>
      </pc:sldChg>
      <pc:sldChg chg="addSp delSp modSp add mod">
        <pc:chgData name="Philipp Theile | EWI" userId="389f5144-a239-4438-b72c-100d5483c819" providerId="ADAL" clId="{F09E99D6-B178-4DB3-AECB-60DA0AEF7478}" dt="2021-04-25T14:37:36.459" v="12185" actId="20577"/>
        <pc:sldMkLst>
          <pc:docMk/>
          <pc:sldMk cId="1151621156" sldId="277"/>
        </pc:sldMkLst>
        <pc:spChg chg="del mod">
          <ac:chgData name="Philipp Theile | EWI" userId="389f5144-a239-4438-b72c-100d5483c819" providerId="ADAL" clId="{F09E99D6-B178-4DB3-AECB-60DA0AEF7478}" dt="2021-04-25T11:30:56.634" v="9998" actId="478"/>
          <ac:spMkLst>
            <pc:docMk/>
            <pc:sldMk cId="1151621156" sldId="277"/>
            <ac:spMk id="3" creationId="{00000000-0000-0000-0000-000000000000}"/>
          </ac:spMkLst>
        </pc:spChg>
        <pc:spChg chg="add del mod">
          <ac:chgData name="Philipp Theile | EWI" userId="389f5144-a239-4438-b72c-100d5483c819" providerId="ADAL" clId="{F09E99D6-B178-4DB3-AECB-60DA0AEF7478}" dt="2021-04-25T11:31:13.467" v="10002" actId="478"/>
          <ac:spMkLst>
            <pc:docMk/>
            <pc:sldMk cId="1151621156" sldId="277"/>
            <ac:spMk id="5" creationId="{AFE4F0B9-0363-4016-B7FB-D2EA1B6B48AC}"/>
          </ac:spMkLst>
        </pc:spChg>
        <pc:spChg chg="add mod">
          <ac:chgData name="Philipp Theile | EWI" userId="389f5144-a239-4438-b72c-100d5483c819" providerId="ADAL" clId="{F09E99D6-B178-4DB3-AECB-60DA0AEF7478}" dt="2021-04-25T14:32:23.841" v="11622"/>
          <ac:spMkLst>
            <pc:docMk/>
            <pc:sldMk cId="1151621156" sldId="277"/>
            <ac:spMk id="17" creationId="{8CAA2B98-7689-401D-9E80-434065F20E6C}"/>
          </ac:spMkLst>
        </pc:spChg>
        <pc:spChg chg="add mod">
          <ac:chgData name="Philipp Theile | EWI" userId="389f5144-a239-4438-b72c-100d5483c819" providerId="ADAL" clId="{F09E99D6-B178-4DB3-AECB-60DA0AEF7478}" dt="2021-04-25T14:32:29.953" v="11624"/>
          <ac:spMkLst>
            <pc:docMk/>
            <pc:sldMk cId="1151621156" sldId="277"/>
            <ac:spMk id="18" creationId="{3152B032-861F-42EE-BA89-A71B1ADD9FF2}"/>
          </ac:spMkLst>
        </pc:spChg>
        <pc:spChg chg="add mod">
          <ac:chgData name="Philipp Theile | EWI" userId="389f5144-a239-4438-b72c-100d5483c819" providerId="ADAL" clId="{F09E99D6-B178-4DB3-AECB-60DA0AEF7478}" dt="2021-04-25T14:37:36.459" v="12185" actId="20577"/>
          <ac:spMkLst>
            <pc:docMk/>
            <pc:sldMk cId="1151621156" sldId="277"/>
            <ac:spMk id="19" creationId="{106B9DC6-F91B-4E13-831E-4CD5656AEA7E}"/>
          </ac:spMkLst>
        </pc:spChg>
        <pc:graphicFrameChg chg="add del mod">
          <ac:chgData name="Philipp Theile | EWI" userId="389f5144-a239-4438-b72c-100d5483c819" providerId="ADAL" clId="{F09E99D6-B178-4DB3-AECB-60DA0AEF7478}" dt="2021-04-25T11:22:46.416" v="9978" actId="478"/>
          <ac:graphicFrameMkLst>
            <pc:docMk/>
            <pc:sldMk cId="1151621156" sldId="277"/>
            <ac:graphicFrameMk id="6" creationId="{45DB9300-A099-4EE4-8DF5-09A26BD5A478}"/>
          </ac:graphicFrameMkLst>
        </pc:graphicFrameChg>
        <pc:picChg chg="add del mod">
          <ac:chgData name="Philipp Theile | EWI" userId="389f5144-a239-4438-b72c-100d5483c819" providerId="ADAL" clId="{F09E99D6-B178-4DB3-AECB-60DA0AEF7478}" dt="2021-04-25T11:31:10.998" v="10001"/>
          <ac:picMkLst>
            <pc:docMk/>
            <pc:sldMk cId="1151621156" sldId="277"/>
            <ac:picMk id="8" creationId="{FB2D2846-D270-4340-9005-58EFD379983F}"/>
          </ac:picMkLst>
        </pc:picChg>
        <pc:picChg chg="add del mod">
          <ac:chgData name="Philipp Theile | EWI" userId="389f5144-a239-4438-b72c-100d5483c819" providerId="ADAL" clId="{F09E99D6-B178-4DB3-AECB-60DA0AEF7478}" dt="2021-04-25T11:33:42.563" v="10033" actId="478"/>
          <ac:picMkLst>
            <pc:docMk/>
            <pc:sldMk cId="1151621156" sldId="277"/>
            <ac:picMk id="10" creationId="{98AEC69E-AC84-4739-8E4F-167B97147DBD}"/>
          </ac:picMkLst>
        </pc:picChg>
        <pc:picChg chg="add del mod">
          <ac:chgData name="Philipp Theile | EWI" userId="389f5144-a239-4438-b72c-100d5483c819" providerId="ADAL" clId="{F09E99D6-B178-4DB3-AECB-60DA0AEF7478}" dt="2021-04-25T11:33:43.169" v="10034" actId="478"/>
          <ac:picMkLst>
            <pc:docMk/>
            <pc:sldMk cId="1151621156" sldId="277"/>
            <ac:picMk id="12" creationId="{75308C9B-7C8B-4C27-8278-A1D667BBD413}"/>
          </ac:picMkLst>
        </pc:picChg>
        <pc:picChg chg="add mod">
          <ac:chgData name="Philipp Theile | EWI" userId="389f5144-a239-4438-b72c-100d5483c819" providerId="ADAL" clId="{F09E99D6-B178-4DB3-AECB-60DA0AEF7478}" dt="2021-04-25T11:34:32.455" v="10043" actId="14100"/>
          <ac:picMkLst>
            <pc:docMk/>
            <pc:sldMk cId="1151621156" sldId="277"/>
            <ac:picMk id="14" creationId="{BC310A93-EE1A-4887-BE9E-7783F5A1C585}"/>
          </ac:picMkLst>
        </pc:picChg>
        <pc:picChg chg="add mod">
          <ac:chgData name="Philipp Theile | EWI" userId="389f5144-a239-4438-b72c-100d5483c819" providerId="ADAL" clId="{F09E99D6-B178-4DB3-AECB-60DA0AEF7478}" dt="2021-04-25T11:34:44.939" v="10047"/>
          <ac:picMkLst>
            <pc:docMk/>
            <pc:sldMk cId="1151621156" sldId="277"/>
            <ac:picMk id="16" creationId="{107459C1-F2CA-4D23-A1A2-E302977F6C0F}"/>
          </ac:picMkLst>
        </pc:picChg>
      </pc:sldChg>
      <pc:sldChg chg="addSp delSp modSp add del mod">
        <pc:chgData name="Philipp Theile | EWI" userId="389f5144-a239-4438-b72c-100d5483c819" providerId="ADAL" clId="{F09E99D6-B178-4DB3-AECB-60DA0AEF7478}" dt="2021-04-20T11:30:11.543" v="3203" actId="47"/>
        <pc:sldMkLst>
          <pc:docMk/>
          <pc:sldMk cId="2087779891" sldId="278"/>
        </pc:sldMkLst>
        <pc:spChg chg="del mod">
          <ac:chgData name="Philipp Theile | EWI" userId="389f5144-a239-4438-b72c-100d5483c819" providerId="ADAL" clId="{F09E99D6-B178-4DB3-AECB-60DA0AEF7478}" dt="2021-04-20T11:26:46.779" v="3171"/>
          <ac:spMkLst>
            <pc:docMk/>
            <pc:sldMk cId="2087779891" sldId="278"/>
            <ac:spMk id="4" creationId="{7E6C13BE-E6DB-4C59-91CC-81A207C36EC8}"/>
          </ac:spMkLst>
        </pc:spChg>
        <pc:spChg chg="del">
          <ac:chgData name="Philipp Theile | EWI" userId="389f5144-a239-4438-b72c-100d5483c819" providerId="ADAL" clId="{F09E99D6-B178-4DB3-AECB-60DA0AEF7478}" dt="2021-04-20T11:26:26.142" v="3166" actId="478"/>
          <ac:spMkLst>
            <pc:docMk/>
            <pc:sldMk cId="2087779891" sldId="278"/>
            <ac:spMk id="5" creationId="{A5649482-E0CA-4171-9B4C-63F62AFA7878}"/>
          </ac:spMkLst>
        </pc:spChg>
        <pc:spChg chg="add del mod">
          <ac:chgData name="Philipp Theile | EWI" userId="389f5144-a239-4438-b72c-100d5483c819" providerId="ADAL" clId="{F09E99D6-B178-4DB3-AECB-60DA0AEF7478}" dt="2021-04-20T11:29:39.266" v="3188" actId="478"/>
          <ac:spMkLst>
            <pc:docMk/>
            <pc:sldMk cId="2087779891" sldId="278"/>
            <ac:spMk id="7" creationId="{14F3D845-0C4F-4918-AA32-19BEC379E4DE}"/>
          </ac:spMkLst>
        </pc:spChg>
        <pc:spChg chg="add del mod">
          <ac:chgData name="Philipp Theile | EWI" userId="389f5144-a239-4438-b72c-100d5483c819" providerId="ADAL" clId="{F09E99D6-B178-4DB3-AECB-60DA0AEF7478}" dt="2021-04-20T11:29:51.810" v="3196" actId="478"/>
          <ac:spMkLst>
            <pc:docMk/>
            <pc:sldMk cId="2087779891" sldId="278"/>
            <ac:spMk id="8" creationId="{E1929700-B750-4DCF-A7B7-B73F4F46EBCC}"/>
          </ac:spMkLst>
        </pc:spChg>
        <pc:spChg chg="add del mod">
          <ac:chgData name="Philipp Theile | EWI" userId="389f5144-a239-4438-b72c-100d5483c819" providerId="ADAL" clId="{F09E99D6-B178-4DB3-AECB-60DA0AEF7478}" dt="2021-04-20T11:30:10.435" v="3202" actId="478"/>
          <ac:spMkLst>
            <pc:docMk/>
            <pc:sldMk cId="2087779891" sldId="278"/>
            <ac:spMk id="9" creationId="{552EDE2B-0E72-40C9-A1E6-8192B89A1F79}"/>
          </ac:spMkLst>
        </pc:spChg>
      </pc:sldChg>
      <pc:sldChg chg="addSp delSp modSp new mod modNotesTx">
        <pc:chgData name="Philipp Theile | EWI" userId="389f5144-a239-4438-b72c-100d5483c819" providerId="ADAL" clId="{F09E99D6-B178-4DB3-AECB-60DA0AEF7478}" dt="2021-04-26T07:46:22.812" v="12329" actId="21"/>
        <pc:sldMkLst>
          <pc:docMk/>
          <pc:sldMk cId="1129182750" sldId="279"/>
        </pc:sldMkLst>
        <pc:spChg chg="mod">
          <ac:chgData name="Philipp Theile | EWI" userId="389f5144-a239-4438-b72c-100d5483c819" providerId="ADAL" clId="{F09E99D6-B178-4DB3-AECB-60DA0AEF7478}" dt="2021-04-20T11:30:14.994" v="3213" actId="20577"/>
          <ac:spMkLst>
            <pc:docMk/>
            <pc:sldMk cId="1129182750" sldId="279"/>
            <ac:spMk id="2" creationId="{0317863B-24CA-45B0-871D-01352D5B235A}"/>
          </ac:spMkLst>
        </pc:spChg>
        <pc:spChg chg="del">
          <ac:chgData name="Philipp Theile | EWI" userId="389f5144-a239-4438-b72c-100d5483c819" providerId="ADAL" clId="{F09E99D6-B178-4DB3-AECB-60DA0AEF7478}" dt="2021-04-20T11:29:36.010" v="3187" actId="21"/>
          <ac:spMkLst>
            <pc:docMk/>
            <pc:sldMk cId="1129182750" sldId="279"/>
            <ac:spMk id="3" creationId="{3EBE5920-83BB-48A8-A497-826F484F1257}"/>
          </ac:spMkLst>
        </pc:spChg>
        <pc:spChg chg="add mod">
          <ac:chgData name="Philipp Theile | EWI" userId="389f5144-a239-4438-b72c-100d5483c819" providerId="ADAL" clId="{F09E99D6-B178-4DB3-AECB-60DA0AEF7478}" dt="2021-04-21T09:19:00.332" v="8171" actId="1076"/>
          <ac:spMkLst>
            <pc:docMk/>
            <pc:sldMk cId="1129182750" sldId="279"/>
            <ac:spMk id="3" creationId="{A1DBF99F-0D09-4871-8911-C21F1DFFE02F}"/>
          </ac:spMkLst>
        </pc:spChg>
        <pc:spChg chg="del mod">
          <ac:chgData name="Philipp Theile | EWI" userId="389f5144-a239-4438-b72c-100d5483c819" providerId="ADAL" clId="{F09E99D6-B178-4DB3-AECB-60DA0AEF7478}" dt="2021-04-20T11:30:02.997" v="3198" actId="21"/>
          <ac:spMkLst>
            <pc:docMk/>
            <pc:sldMk cId="1129182750" sldId="279"/>
            <ac:spMk id="4" creationId="{E87679CF-9C65-409A-914A-779A124BA2D4}"/>
          </ac:spMkLst>
        </pc:spChg>
        <pc:spChg chg="add mod">
          <ac:chgData name="Philipp Theile | EWI" userId="389f5144-a239-4438-b72c-100d5483c819" providerId="ADAL" clId="{F09E99D6-B178-4DB3-AECB-60DA0AEF7478}" dt="2021-04-20T11:54:45.337" v="4427" actId="20577"/>
          <ac:spMkLst>
            <pc:docMk/>
            <pc:sldMk cId="1129182750" sldId="279"/>
            <ac:spMk id="6" creationId="{9CBFA281-9984-4D1D-9084-C4ECA40CB62B}"/>
          </ac:spMkLst>
        </pc:spChg>
        <pc:spChg chg="mod">
          <ac:chgData name="Philipp Theile | EWI" userId="389f5144-a239-4438-b72c-100d5483c819" providerId="ADAL" clId="{F09E99D6-B178-4DB3-AECB-60DA0AEF7478}" dt="2021-04-20T13:33:30.570" v="5552" actId="1076"/>
          <ac:spMkLst>
            <pc:docMk/>
            <pc:sldMk cId="1129182750" sldId="279"/>
            <ac:spMk id="8" creationId="{3FD30ED5-37FE-4097-A165-6AC3455B96EC}"/>
          </ac:spMkLst>
        </pc:spChg>
        <pc:spChg chg="mod">
          <ac:chgData name="Philipp Theile | EWI" userId="389f5144-a239-4438-b72c-100d5483c819" providerId="ADAL" clId="{F09E99D6-B178-4DB3-AECB-60DA0AEF7478}" dt="2021-04-20T13:33:28.402" v="5551" actId="1076"/>
          <ac:spMkLst>
            <pc:docMk/>
            <pc:sldMk cId="1129182750" sldId="279"/>
            <ac:spMk id="9" creationId="{0A1C22A1-C554-48ED-8202-A56901F2240E}"/>
          </ac:spMkLst>
        </pc:spChg>
        <pc:spChg chg="mod">
          <ac:chgData name="Philipp Theile | EWI" userId="389f5144-a239-4438-b72c-100d5483c819" providerId="ADAL" clId="{F09E99D6-B178-4DB3-AECB-60DA0AEF7478}" dt="2021-04-20T11:50:02.257" v="4148" actId="242"/>
          <ac:spMkLst>
            <pc:docMk/>
            <pc:sldMk cId="1129182750" sldId="279"/>
            <ac:spMk id="12" creationId="{C398DA24-6CD7-484F-8CED-8EA458186855}"/>
          </ac:spMkLst>
        </pc:spChg>
        <pc:spChg chg="del mod">
          <ac:chgData name="Philipp Theile | EWI" userId="389f5144-a239-4438-b72c-100d5483c819" providerId="ADAL" clId="{F09E99D6-B178-4DB3-AECB-60DA0AEF7478}" dt="2021-04-20T11:43:55.518" v="3967" actId="478"/>
          <ac:spMkLst>
            <pc:docMk/>
            <pc:sldMk cId="1129182750" sldId="279"/>
            <ac:spMk id="13" creationId="{6BBEAEF7-E996-4A5C-BCFF-EB5804DB0781}"/>
          </ac:spMkLst>
        </pc:spChg>
        <pc:spChg chg="mod">
          <ac:chgData name="Philipp Theile | EWI" userId="389f5144-a239-4438-b72c-100d5483c819" providerId="ADAL" clId="{F09E99D6-B178-4DB3-AECB-60DA0AEF7478}" dt="2021-04-20T11:49:21.219" v="4136" actId="242"/>
          <ac:spMkLst>
            <pc:docMk/>
            <pc:sldMk cId="1129182750" sldId="279"/>
            <ac:spMk id="14" creationId="{AFEB54B6-BAEF-40E7-957E-898702A67714}"/>
          </ac:spMkLst>
        </pc:spChg>
        <pc:spChg chg="mod">
          <ac:chgData name="Philipp Theile | EWI" userId="389f5144-a239-4438-b72c-100d5483c819" providerId="ADAL" clId="{F09E99D6-B178-4DB3-AECB-60DA0AEF7478}" dt="2021-04-20T11:49:25.353" v="4137" actId="242"/>
          <ac:spMkLst>
            <pc:docMk/>
            <pc:sldMk cId="1129182750" sldId="279"/>
            <ac:spMk id="15" creationId="{2F481609-89C1-4596-94A2-B7EF17473DB9}"/>
          </ac:spMkLst>
        </pc:spChg>
        <pc:spChg chg="del mod">
          <ac:chgData name="Philipp Theile | EWI" userId="389f5144-a239-4438-b72c-100d5483c819" providerId="ADAL" clId="{F09E99D6-B178-4DB3-AECB-60DA0AEF7478}" dt="2021-04-20T11:44:17.337" v="3994" actId="478"/>
          <ac:spMkLst>
            <pc:docMk/>
            <pc:sldMk cId="1129182750" sldId="279"/>
            <ac:spMk id="16" creationId="{29E0E238-4443-442A-908A-1FCF720CB399}"/>
          </ac:spMkLst>
        </pc:spChg>
        <pc:spChg chg="mod">
          <ac:chgData name="Philipp Theile | EWI" userId="389f5144-a239-4438-b72c-100d5483c819" providerId="ADAL" clId="{F09E99D6-B178-4DB3-AECB-60DA0AEF7478}" dt="2021-04-20T11:49:48.614" v="4144" actId="242"/>
          <ac:spMkLst>
            <pc:docMk/>
            <pc:sldMk cId="1129182750" sldId="279"/>
            <ac:spMk id="17" creationId="{9AA4F141-FA81-4293-ACC9-ABD997209BF5}"/>
          </ac:spMkLst>
        </pc:spChg>
        <pc:spChg chg="mod">
          <ac:chgData name="Philipp Theile | EWI" userId="389f5144-a239-4438-b72c-100d5483c819" providerId="ADAL" clId="{F09E99D6-B178-4DB3-AECB-60DA0AEF7478}" dt="2021-04-20T11:48:26.742" v="4123"/>
          <ac:spMkLst>
            <pc:docMk/>
            <pc:sldMk cId="1129182750" sldId="279"/>
            <ac:spMk id="28" creationId="{9A1B4AC6-AD11-46DC-B707-4D47450E52BC}"/>
          </ac:spMkLst>
        </pc:spChg>
        <pc:spChg chg="mod">
          <ac:chgData name="Philipp Theile | EWI" userId="389f5144-a239-4438-b72c-100d5483c819" providerId="ADAL" clId="{F09E99D6-B178-4DB3-AECB-60DA0AEF7478}" dt="2021-04-20T11:48:26.742" v="4123"/>
          <ac:spMkLst>
            <pc:docMk/>
            <pc:sldMk cId="1129182750" sldId="279"/>
            <ac:spMk id="29" creationId="{DAC370CD-F4D3-432D-BAF0-5ABE8EF48F2D}"/>
          </ac:spMkLst>
        </pc:spChg>
        <pc:spChg chg="mod">
          <ac:chgData name="Philipp Theile | EWI" userId="389f5144-a239-4438-b72c-100d5483c819" providerId="ADAL" clId="{F09E99D6-B178-4DB3-AECB-60DA0AEF7478}" dt="2021-04-20T11:48:41.688" v="4127"/>
          <ac:spMkLst>
            <pc:docMk/>
            <pc:sldMk cId="1129182750" sldId="279"/>
            <ac:spMk id="34" creationId="{A3AA0837-D2D7-425C-9469-C9A82446C42E}"/>
          </ac:spMkLst>
        </pc:spChg>
        <pc:spChg chg="mod">
          <ac:chgData name="Philipp Theile | EWI" userId="389f5144-a239-4438-b72c-100d5483c819" providerId="ADAL" clId="{F09E99D6-B178-4DB3-AECB-60DA0AEF7478}" dt="2021-04-20T11:48:41.688" v="4127"/>
          <ac:spMkLst>
            <pc:docMk/>
            <pc:sldMk cId="1129182750" sldId="279"/>
            <ac:spMk id="35" creationId="{E82C7959-F9AA-4134-AD38-2724055EAAE2}"/>
          </ac:spMkLst>
        </pc:spChg>
        <pc:spChg chg="mod">
          <ac:chgData name="Philipp Theile | EWI" userId="389f5144-a239-4438-b72c-100d5483c819" providerId="ADAL" clId="{F09E99D6-B178-4DB3-AECB-60DA0AEF7478}" dt="2021-04-20T11:49:31.017" v="4138"/>
          <ac:spMkLst>
            <pc:docMk/>
            <pc:sldMk cId="1129182750" sldId="279"/>
            <ac:spMk id="44" creationId="{3DE72572-62A5-4D63-9637-BE767736E589}"/>
          </ac:spMkLst>
        </pc:spChg>
        <pc:spChg chg="mod">
          <ac:chgData name="Philipp Theile | EWI" userId="389f5144-a239-4438-b72c-100d5483c819" providerId="ADAL" clId="{F09E99D6-B178-4DB3-AECB-60DA0AEF7478}" dt="2021-04-20T11:49:31.017" v="4138"/>
          <ac:spMkLst>
            <pc:docMk/>
            <pc:sldMk cId="1129182750" sldId="279"/>
            <ac:spMk id="45" creationId="{DD56792F-96E3-43BE-A2E4-0159AAFC03B7}"/>
          </ac:spMkLst>
        </pc:spChg>
        <pc:spChg chg="mod">
          <ac:chgData name="Philipp Theile | EWI" userId="389f5144-a239-4438-b72c-100d5483c819" providerId="ADAL" clId="{F09E99D6-B178-4DB3-AECB-60DA0AEF7478}" dt="2021-04-20T11:49:52.371" v="4145"/>
          <ac:spMkLst>
            <pc:docMk/>
            <pc:sldMk cId="1129182750" sldId="279"/>
            <ac:spMk id="50" creationId="{7DD6680F-06D4-4BEB-99B4-D3BE36C07B58}"/>
          </ac:spMkLst>
        </pc:spChg>
        <pc:spChg chg="mod">
          <ac:chgData name="Philipp Theile | EWI" userId="389f5144-a239-4438-b72c-100d5483c819" providerId="ADAL" clId="{F09E99D6-B178-4DB3-AECB-60DA0AEF7478}" dt="2021-04-20T11:49:52.371" v="4145"/>
          <ac:spMkLst>
            <pc:docMk/>
            <pc:sldMk cId="1129182750" sldId="279"/>
            <ac:spMk id="51" creationId="{B2A7494A-29AD-40AA-A751-E25888D1BC46}"/>
          </ac:spMkLst>
        </pc:spChg>
        <pc:spChg chg="mod">
          <ac:chgData name="Philipp Theile | EWI" userId="389f5144-a239-4438-b72c-100d5483c819" providerId="ADAL" clId="{F09E99D6-B178-4DB3-AECB-60DA0AEF7478}" dt="2021-04-20T11:50:04.748" v="4149"/>
          <ac:spMkLst>
            <pc:docMk/>
            <pc:sldMk cId="1129182750" sldId="279"/>
            <ac:spMk id="56" creationId="{C267E4F9-481B-4301-B824-D14A103CF677}"/>
          </ac:spMkLst>
        </pc:spChg>
        <pc:spChg chg="mod">
          <ac:chgData name="Philipp Theile | EWI" userId="389f5144-a239-4438-b72c-100d5483c819" providerId="ADAL" clId="{F09E99D6-B178-4DB3-AECB-60DA0AEF7478}" dt="2021-04-20T11:50:04.748" v="4149"/>
          <ac:spMkLst>
            <pc:docMk/>
            <pc:sldMk cId="1129182750" sldId="279"/>
            <ac:spMk id="57" creationId="{D392FDFD-4339-4625-AF97-0CC368C0839C}"/>
          </ac:spMkLst>
        </pc:spChg>
        <pc:spChg chg="add del mod">
          <ac:chgData name="Philipp Theile | EWI" userId="389f5144-a239-4438-b72c-100d5483c819" providerId="ADAL" clId="{F09E99D6-B178-4DB3-AECB-60DA0AEF7478}" dt="2021-04-26T07:46:22.812" v="12329" actId="21"/>
          <ac:spMkLst>
            <pc:docMk/>
            <pc:sldMk cId="1129182750" sldId="279"/>
            <ac:spMk id="58" creationId="{CF43210A-83B0-479C-B33A-71A2D07440D2}"/>
          </ac:spMkLst>
        </pc:spChg>
        <pc:spChg chg="add mod">
          <ac:chgData name="Philipp Theile | EWI" userId="389f5144-a239-4438-b72c-100d5483c819" providerId="ADAL" clId="{F09E99D6-B178-4DB3-AECB-60DA0AEF7478}" dt="2021-04-21T09:20:02.438" v="8294" actId="20577"/>
          <ac:spMkLst>
            <pc:docMk/>
            <pc:sldMk cId="1129182750" sldId="279"/>
            <ac:spMk id="59" creationId="{C42D454D-27BE-4ADF-A5AA-5ECB336ECDEE}"/>
          </ac:spMkLst>
        </pc:spChg>
        <pc:grpChg chg="add mod">
          <ac:chgData name="Philipp Theile | EWI" userId="389f5144-a239-4438-b72c-100d5483c819" providerId="ADAL" clId="{F09E99D6-B178-4DB3-AECB-60DA0AEF7478}" dt="2021-04-20T11:48:34.231" v="4125" actId="14100"/>
          <ac:grpSpMkLst>
            <pc:docMk/>
            <pc:sldMk cId="1129182750" sldId="279"/>
            <ac:grpSpMk id="7" creationId="{C66E9B53-2877-489C-970D-F91FC5CF2D35}"/>
          </ac:grpSpMkLst>
        </pc:grpChg>
        <pc:grpChg chg="add mod">
          <ac:chgData name="Philipp Theile | EWI" userId="389f5144-a239-4438-b72c-100d5483c819" providerId="ADAL" clId="{F09E99D6-B178-4DB3-AECB-60DA0AEF7478}" dt="2021-04-21T09:16:24.972" v="8141" actId="1076"/>
          <ac:grpSpMkLst>
            <pc:docMk/>
            <pc:sldMk cId="1129182750" sldId="279"/>
            <ac:grpSpMk id="24" creationId="{25E09B6B-269D-45D8-878E-AE12B63F4BC8}"/>
          </ac:grpSpMkLst>
        </pc:grpChg>
        <pc:grpChg chg="add del mod">
          <ac:chgData name="Philipp Theile | EWI" userId="389f5144-a239-4438-b72c-100d5483c819" providerId="ADAL" clId="{F09E99D6-B178-4DB3-AECB-60DA0AEF7478}" dt="2021-04-20T11:48:53.105" v="4129" actId="478"/>
          <ac:grpSpMkLst>
            <pc:docMk/>
            <pc:sldMk cId="1129182750" sldId="279"/>
            <ac:grpSpMk id="30" creationId="{AF314BE4-6CB4-473F-A68C-2C54AA0E03EB}"/>
          </ac:grpSpMkLst>
        </pc:grpChg>
        <pc:grpChg chg="add mod">
          <ac:chgData name="Philipp Theile | EWI" userId="389f5144-a239-4438-b72c-100d5483c819" providerId="ADAL" clId="{F09E99D6-B178-4DB3-AECB-60DA0AEF7478}" dt="2021-04-21T09:16:22.938" v="8140" actId="1076"/>
          <ac:grpSpMkLst>
            <pc:docMk/>
            <pc:sldMk cId="1129182750" sldId="279"/>
            <ac:grpSpMk id="40" creationId="{B8D942D6-810B-4D0F-876C-1B40DA43B50D}"/>
          </ac:grpSpMkLst>
        </pc:grpChg>
        <pc:grpChg chg="add mod">
          <ac:chgData name="Philipp Theile | EWI" userId="389f5144-a239-4438-b72c-100d5483c819" providerId="ADAL" clId="{F09E99D6-B178-4DB3-AECB-60DA0AEF7478}" dt="2021-04-21T09:16:29.517" v="8142" actId="1076"/>
          <ac:grpSpMkLst>
            <pc:docMk/>
            <pc:sldMk cId="1129182750" sldId="279"/>
            <ac:grpSpMk id="46" creationId="{4679F4C6-8496-49AE-AE5C-776F28B407C8}"/>
          </ac:grpSpMkLst>
        </pc:grpChg>
        <pc:grpChg chg="add mod">
          <ac:chgData name="Philipp Theile | EWI" userId="389f5144-a239-4438-b72c-100d5483c819" providerId="ADAL" clId="{F09E99D6-B178-4DB3-AECB-60DA0AEF7478}" dt="2021-04-21T09:16:32.036" v="8143" actId="1076"/>
          <ac:grpSpMkLst>
            <pc:docMk/>
            <pc:sldMk cId="1129182750" sldId="279"/>
            <ac:grpSpMk id="52" creationId="{1692CFA7-44A7-4E74-9A1C-7339FE65EB23}"/>
          </ac:grpSpMkLst>
        </pc:grpChg>
        <pc:picChg chg="mod">
          <ac:chgData name="Philipp Theile | EWI" userId="389f5144-a239-4438-b72c-100d5483c819" providerId="ADAL" clId="{F09E99D6-B178-4DB3-AECB-60DA0AEF7478}" dt="2021-04-20T11:48:26.742" v="4123"/>
          <ac:picMkLst>
            <pc:docMk/>
            <pc:sldMk cId="1129182750" sldId="279"/>
            <ac:picMk id="25" creationId="{EFF8827B-311C-40FC-8E71-C2E8022AE21F}"/>
          </ac:picMkLst>
        </pc:picChg>
        <pc:picChg chg="mod">
          <ac:chgData name="Philipp Theile | EWI" userId="389f5144-a239-4438-b72c-100d5483c819" providerId="ADAL" clId="{F09E99D6-B178-4DB3-AECB-60DA0AEF7478}" dt="2021-04-20T11:48:26.742" v="4123"/>
          <ac:picMkLst>
            <pc:docMk/>
            <pc:sldMk cId="1129182750" sldId="279"/>
            <ac:picMk id="26" creationId="{E440F0B8-67EF-47E6-A84F-C4F4DE36EACA}"/>
          </ac:picMkLst>
        </pc:picChg>
        <pc:picChg chg="mod">
          <ac:chgData name="Philipp Theile | EWI" userId="389f5144-a239-4438-b72c-100d5483c819" providerId="ADAL" clId="{F09E99D6-B178-4DB3-AECB-60DA0AEF7478}" dt="2021-04-20T11:48:41.688" v="4127"/>
          <ac:picMkLst>
            <pc:docMk/>
            <pc:sldMk cId="1129182750" sldId="279"/>
            <ac:picMk id="31" creationId="{F0106B5B-DB78-47FE-9283-CB68CBD45B58}"/>
          </ac:picMkLst>
        </pc:picChg>
        <pc:picChg chg="mod">
          <ac:chgData name="Philipp Theile | EWI" userId="389f5144-a239-4438-b72c-100d5483c819" providerId="ADAL" clId="{F09E99D6-B178-4DB3-AECB-60DA0AEF7478}" dt="2021-04-20T11:48:41.688" v="4127"/>
          <ac:picMkLst>
            <pc:docMk/>
            <pc:sldMk cId="1129182750" sldId="279"/>
            <ac:picMk id="32" creationId="{AA7967BE-1B6B-4BDC-B770-EB218C52F650}"/>
          </ac:picMkLst>
        </pc:picChg>
        <pc:picChg chg="mod">
          <ac:chgData name="Philipp Theile | EWI" userId="389f5144-a239-4438-b72c-100d5483c819" providerId="ADAL" clId="{F09E99D6-B178-4DB3-AECB-60DA0AEF7478}" dt="2021-04-20T11:49:31.017" v="4138"/>
          <ac:picMkLst>
            <pc:docMk/>
            <pc:sldMk cId="1129182750" sldId="279"/>
            <ac:picMk id="41" creationId="{33A732E3-9406-4FA3-92AE-438F4D2DF4CE}"/>
          </ac:picMkLst>
        </pc:picChg>
        <pc:picChg chg="mod">
          <ac:chgData name="Philipp Theile | EWI" userId="389f5144-a239-4438-b72c-100d5483c819" providerId="ADAL" clId="{F09E99D6-B178-4DB3-AECB-60DA0AEF7478}" dt="2021-04-20T11:49:31.017" v="4138"/>
          <ac:picMkLst>
            <pc:docMk/>
            <pc:sldMk cId="1129182750" sldId="279"/>
            <ac:picMk id="42" creationId="{A080ECB6-6628-4825-B928-589EA740A1FA}"/>
          </ac:picMkLst>
        </pc:picChg>
        <pc:picChg chg="mod">
          <ac:chgData name="Philipp Theile | EWI" userId="389f5144-a239-4438-b72c-100d5483c819" providerId="ADAL" clId="{F09E99D6-B178-4DB3-AECB-60DA0AEF7478}" dt="2021-04-20T11:49:52.371" v="4145"/>
          <ac:picMkLst>
            <pc:docMk/>
            <pc:sldMk cId="1129182750" sldId="279"/>
            <ac:picMk id="47" creationId="{511E6F7D-D421-4EE9-A8FD-70A8FCB100B6}"/>
          </ac:picMkLst>
        </pc:picChg>
        <pc:picChg chg="mod">
          <ac:chgData name="Philipp Theile | EWI" userId="389f5144-a239-4438-b72c-100d5483c819" providerId="ADAL" clId="{F09E99D6-B178-4DB3-AECB-60DA0AEF7478}" dt="2021-04-20T11:49:52.371" v="4145"/>
          <ac:picMkLst>
            <pc:docMk/>
            <pc:sldMk cId="1129182750" sldId="279"/>
            <ac:picMk id="48" creationId="{E933E6A2-DB9D-4C12-86D4-9F3CA8008398}"/>
          </ac:picMkLst>
        </pc:picChg>
        <pc:picChg chg="mod">
          <ac:chgData name="Philipp Theile | EWI" userId="389f5144-a239-4438-b72c-100d5483c819" providerId="ADAL" clId="{F09E99D6-B178-4DB3-AECB-60DA0AEF7478}" dt="2021-04-20T11:50:04.748" v="4149"/>
          <ac:picMkLst>
            <pc:docMk/>
            <pc:sldMk cId="1129182750" sldId="279"/>
            <ac:picMk id="53" creationId="{A8C27E8A-16F3-4231-9206-97950442D21E}"/>
          </ac:picMkLst>
        </pc:picChg>
        <pc:picChg chg="mod">
          <ac:chgData name="Philipp Theile | EWI" userId="389f5144-a239-4438-b72c-100d5483c819" providerId="ADAL" clId="{F09E99D6-B178-4DB3-AECB-60DA0AEF7478}" dt="2021-04-20T11:50:04.748" v="4149"/>
          <ac:picMkLst>
            <pc:docMk/>
            <pc:sldMk cId="1129182750" sldId="279"/>
            <ac:picMk id="54" creationId="{1B9CB712-B499-4402-BBE5-3EEA266F3EAF}"/>
          </ac:picMkLst>
        </pc:picChg>
        <pc:cxnChg chg="mod">
          <ac:chgData name="Philipp Theile | EWI" userId="389f5144-a239-4438-b72c-100d5483c819" providerId="ADAL" clId="{F09E99D6-B178-4DB3-AECB-60DA0AEF7478}" dt="2021-04-20T11:49:01.953" v="4134" actId="14100"/>
          <ac:cxnSpMkLst>
            <pc:docMk/>
            <pc:sldMk cId="1129182750" sldId="279"/>
            <ac:cxnSpMk id="10" creationId="{6829190F-0971-4EB4-9743-0F097281B7C1}"/>
          </ac:cxnSpMkLst>
        </pc:cxnChg>
        <pc:cxnChg chg="mod">
          <ac:chgData name="Philipp Theile | EWI" userId="389f5144-a239-4438-b72c-100d5483c819" providerId="ADAL" clId="{F09E99D6-B178-4DB3-AECB-60DA0AEF7478}" dt="2021-04-20T11:49:06.897" v="4135" actId="14100"/>
          <ac:cxnSpMkLst>
            <pc:docMk/>
            <pc:sldMk cId="1129182750" sldId="279"/>
            <ac:cxnSpMk id="11" creationId="{2476F211-82DD-4328-9F1C-CEE273CA342C}"/>
          </ac:cxnSpMkLst>
        </pc:cxnChg>
        <pc:cxnChg chg="mod">
          <ac:chgData name="Philipp Theile | EWI" userId="389f5144-a239-4438-b72c-100d5483c819" providerId="ADAL" clId="{F09E99D6-B178-4DB3-AECB-60DA0AEF7478}" dt="2021-04-20T11:49:06.897" v="4135" actId="14100"/>
          <ac:cxnSpMkLst>
            <pc:docMk/>
            <pc:sldMk cId="1129182750" sldId="279"/>
            <ac:cxnSpMk id="18" creationId="{2EF6670F-6FA9-44B0-8DBA-3A991DDF7257}"/>
          </ac:cxnSpMkLst>
        </pc:cxnChg>
        <pc:cxnChg chg="mod">
          <ac:chgData name="Philipp Theile | EWI" userId="389f5144-a239-4438-b72c-100d5483c819" providerId="ADAL" clId="{F09E99D6-B178-4DB3-AECB-60DA0AEF7478}" dt="2021-04-20T11:49:01.953" v="4134" actId="14100"/>
          <ac:cxnSpMkLst>
            <pc:docMk/>
            <pc:sldMk cId="1129182750" sldId="279"/>
            <ac:cxnSpMk id="19" creationId="{0348C5D4-95FD-4872-BFEB-480119541A07}"/>
          </ac:cxnSpMkLst>
        </pc:cxnChg>
        <pc:cxnChg chg="mod">
          <ac:chgData name="Philipp Theile | EWI" userId="389f5144-a239-4438-b72c-100d5483c819" providerId="ADAL" clId="{F09E99D6-B178-4DB3-AECB-60DA0AEF7478}" dt="2021-04-20T11:48:26.742" v="4123"/>
          <ac:cxnSpMkLst>
            <pc:docMk/>
            <pc:sldMk cId="1129182750" sldId="279"/>
            <ac:cxnSpMk id="27" creationId="{ACD586C5-765B-4884-8153-E11396C50140}"/>
          </ac:cxnSpMkLst>
        </pc:cxnChg>
        <pc:cxnChg chg="mod">
          <ac:chgData name="Philipp Theile | EWI" userId="389f5144-a239-4438-b72c-100d5483c819" providerId="ADAL" clId="{F09E99D6-B178-4DB3-AECB-60DA0AEF7478}" dt="2021-04-20T11:48:53.105" v="4129" actId="478"/>
          <ac:cxnSpMkLst>
            <pc:docMk/>
            <pc:sldMk cId="1129182750" sldId="279"/>
            <ac:cxnSpMk id="33" creationId="{FD14833D-7189-4C00-B54E-652399E5B31B}"/>
          </ac:cxnSpMkLst>
        </pc:cxnChg>
        <pc:cxnChg chg="mod">
          <ac:chgData name="Philipp Theile | EWI" userId="389f5144-a239-4438-b72c-100d5483c819" providerId="ADAL" clId="{F09E99D6-B178-4DB3-AECB-60DA0AEF7478}" dt="2021-04-20T11:49:31.017" v="4138"/>
          <ac:cxnSpMkLst>
            <pc:docMk/>
            <pc:sldMk cId="1129182750" sldId="279"/>
            <ac:cxnSpMk id="43" creationId="{F8000C3D-831C-4AB6-8535-1E744F5BA3D2}"/>
          </ac:cxnSpMkLst>
        </pc:cxnChg>
        <pc:cxnChg chg="mod">
          <ac:chgData name="Philipp Theile | EWI" userId="389f5144-a239-4438-b72c-100d5483c819" providerId="ADAL" clId="{F09E99D6-B178-4DB3-AECB-60DA0AEF7478}" dt="2021-04-20T11:49:52.371" v="4145"/>
          <ac:cxnSpMkLst>
            <pc:docMk/>
            <pc:sldMk cId="1129182750" sldId="279"/>
            <ac:cxnSpMk id="49" creationId="{A13D1496-17E0-4679-8CB5-4E14EFA54A37}"/>
          </ac:cxnSpMkLst>
        </pc:cxnChg>
        <pc:cxnChg chg="mod">
          <ac:chgData name="Philipp Theile | EWI" userId="389f5144-a239-4438-b72c-100d5483c819" providerId="ADAL" clId="{F09E99D6-B178-4DB3-AECB-60DA0AEF7478}" dt="2021-04-20T11:50:04.748" v="4149"/>
          <ac:cxnSpMkLst>
            <pc:docMk/>
            <pc:sldMk cId="1129182750" sldId="279"/>
            <ac:cxnSpMk id="55" creationId="{816ACD01-4F7C-4EDF-91D5-3413A6FBE25B}"/>
          </ac:cxnSpMkLst>
        </pc:cxnChg>
      </pc:sldChg>
      <pc:sldChg chg="delSp add mod ord">
        <pc:chgData name="Philipp Theile | EWI" userId="389f5144-a239-4438-b72c-100d5483c819" providerId="ADAL" clId="{F09E99D6-B178-4DB3-AECB-60DA0AEF7478}" dt="2021-04-20T13:29:58.562" v="5456"/>
        <pc:sldMkLst>
          <pc:docMk/>
          <pc:sldMk cId="2504274955" sldId="280"/>
        </pc:sldMkLst>
        <pc:spChg chg="del">
          <ac:chgData name="Philipp Theile | EWI" userId="389f5144-a239-4438-b72c-100d5483c819" providerId="ADAL" clId="{F09E99D6-B178-4DB3-AECB-60DA0AEF7478}" dt="2021-04-20T13:17:33.435" v="4877" actId="478"/>
          <ac:spMkLst>
            <pc:docMk/>
            <pc:sldMk cId="2504274955" sldId="280"/>
            <ac:spMk id="43" creationId="{1BC315BD-D699-4BF7-BBD6-2FD7678ED7AF}"/>
          </ac:spMkLst>
        </pc:spChg>
      </pc:sldChg>
      <pc:sldChg chg="addSp modSp mod ord">
        <pc:chgData name="Philipp Theile | EWI" userId="389f5144-a239-4438-b72c-100d5483c819" providerId="ADAL" clId="{F09E99D6-B178-4DB3-AECB-60DA0AEF7478}" dt="2021-04-26T08:15:53.680" v="12578" actId="20577"/>
        <pc:sldMkLst>
          <pc:docMk/>
          <pc:sldMk cId="860825555" sldId="282"/>
        </pc:sldMkLst>
        <pc:spChg chg="mod">
          <ac:chgData name="Philipp Theile | EWI" userId="389f5144-a239-4438-b72c-100d5483c819" providerId="ADAL" clId="{F09E99D6-B178-4DB3-AECB-60DA0AEF7478}" dt="2021-04-26T08:12:12.175" v="12577" actId="20577"/>
          <ac:spMkLst>
            <pc:docMk/>
            <pc:sldMk cId="860825555" sldId="282"/>
            <ac:spMk id="2" creationId="{00000000-0000-0000-0000-000000000000}"/>
          </ac:spMkLst>
        </pc:spChg>
        <pc:spChg chg="mod">
          <ac:chgData name="Philipp Theile | EWI" userId="389f5144-a239-4438-b72c-100d5483c819" providerId="ADAL" clId="{F09E99D6-B178-4DB3-AECB-60DA0AEF7478}" dt="2021-04-21T09:47:48.733" v="8956" actId="1076"/>
          <ac:spMkLst>
            <pc:docMk/>
            <pc:sldMk cId="860825555" sldId="282"/>
            <ac:spMk id="4" creationId="{D1F7C7F7-D2EE-4BDF-8D38-3162E4DA3948}"/>
          </ac:spMkLst>
        </pc:spChg>
        <pc:spChg chg="mod">
          <ac:chgData name="Philipp Theile | EWI" userId="389f5144-a239-4438-b72c-100d5483c819" providerId="ADAL" clId="{F09E99D6-B178-4DB3-AECB-60DA0AEF7478}" dt="2021-04-21T09:46:23.884" v="8951" actId="14100"/>
          <ac:spMkLst>
            <pc:docMk/>
            <pc:sldMk cId="860825555" sldId="282"/>
            <ac:spMk id="6" creationId="{E1BB5B1B-DE79-4523-9078-F8E423A20DD8}"/>
          </ac:spMkLst>
        </pc:spChg>
        <pc:spChg chg="add mod">
          <ac:chgData name="Philipp Theile | EWI" userId="389f5144-a239-4438-b72c-100d5483c819" providerId="ADAL" clId="{F09E99D6-B178-4DB3-AECB-60DA0AEF7478}" dt="2021-04-21T09:48:56.454" v="9010" actId="1076"/>
          <ac:spMkLst>
            <pc:docMk/>
            <pc:sldMk cId="860825555" sldId="282"/>
            <ac:spMk id="10" creationId="{AA00AD44-1209-4092-8200-533A77CEAE23}"/>
          </ac:spMkLst>
        </pc:spChg>
        <pc:spChg chg="add mod">
          <ac:chgData name="Philipp Theile | EWI" userId="389f5144-a239-4438-b72c-100d5483c819" providerId="ADAL" clId="{F09E99D6-B178-4DB3-AECB-60DA0AEF7478}" dt="2021-04-21T09:49:30.876" v="9042" actId="20577"/>
          <ac:spMkLst>
            <pc:docMk/>
            <pc:sldMk cId="860825555" sldId="282"/>
            <ac:spMk id="11" creationId="{01FAD460-CDD8-4161-A203-3FA31E39124F}"/>
          </ac:spMkLst>
        </pc:spChg>
        <pc:spChg chg="add mod">
          <ac:chgData name="Philipp Theile | EWI" userId="389f5144-a239-4438-b72c-100d5483c819" providerId="ADAL" clId="{F09E99D6-B178-4DB3-AECB-60DA0AEF7478}" dt="2021-04-21T09:57:32.949" v="9124" actId="20577"/>
          <ac:spMkLst>
            <pc:docMk/>
            <pc:sldMk cId="860825555" sldId="282"/>
            <ac:spMk id="12" creationId="{C07F675D-E702-489C-80F9-0E6A501AD79E}"/>
          </ac:spMkLst>
        </pc:spChg>
        <pc:spChg chg="mod">
          <ac:chgData name="Philipp Theile | EWI" userId="389f5144-a239-4438-b72c-100d5483c819" providerId="ADAL" clId="{F09E99D6-B178-4DB3-AECB-60DA0AEF7478}" dt="2021-04-26T08:15:53.680" v="12578" actId="20577"/>
          <ac:spMkLst>
            <pc:docMk/>
            <pc:sldMk cId="860825555" sldId="282"/>
            <ac:spMk id="101" creationId="{929A39F6-9182-416D-864C-EAE3ED395B5B}"/>
          </ac:spMkLst>
        </pc:spChg>
        <pc:picChg chg="mod">
          <ac:chgData name="Philipp Theile | EWI" userId="389f5144-a239-4438-b72c-100d5483c819" providerId="ADAL" clId="{F09E99D6-B178-4DB3-AECB-60DA0AEF7478}" dt="2021-04-21T09:47:04.323" v="8955" actId="1076"/>
          <ac:picMkLst>
            <pc:docMk/>
            <pc:sldMk cId="860825555" sldId="282"/>
            <ac:picMk id="7" creationId="{7BCB6112-89B2-4F54-8521-FE9F78F3A7ED}"/>
          </ac:picMkLst>
        </pc:picChg>
        <pc:picChg chg="mod">
          <ac:chgData name="Philipp Theile | EWI" userId="389f5144-a239-4438-b72c-100d5483c819" providerId="ADAL" clId="{F09E99D6-B178-4DB3-AECB-60DA0AEF7478}" dt="2021-04-21T09:47:02.883" v="8954" actId="1076"/>
          <ac:picMkLst>
            <pc:docMk/>
            <pc:sldMk cId="860825555" sldId="282"/>
            <ac:picMk id="9" creationId="{0E0A3FD3-2F47-4F78-B2E2-EAE0B7F3BA00}"/>
          </ac:picMkLst>
        </pc:picChg>
      </pc:sldChg>
      <pc:sldChg chg="addSp delSp modSp add del mod">
        <pc:chgData name="Philipp Theile | EWI" userId="389f5144-a239-4438-b72c-100d5483c819" providerId="ADAL" clId="{F09E99D6-B178-4DB3-AECB-60DA0AEF7478}" dt="2021-04-25T12:44:00.172" v="10454" actId="1035"/>
        <pc:sldMkLst>
          <pc:docMk/>
          <pc:sldMk cId="3914249682" sldId="283"/>
        </pc:sldMkLst>
        <pc:spChg chg="mod topLvl">
          <ac:chgData name="Philipp Theile | EWI" userId="389f5144-a239-4438-b72c-100d5483c819" providerId="ADAL" clId="{F09E99D6-B178-4DB3-AECB-60DA0AEF7478}" dt="2021-04-24T11:38:18.139" v="9878" actId="164"/>
          <ac:spMkLst>
            <pc:docMk/>
            <pc:sldMk cId="3914249682" sldId="283"/>
            <ac:spMk id="8" creationId="{2D4A4350-37AF-4069-9F4B-88D8AFEFCE79}"/>
          </ac:spMkLst>
        </pc:spChg>
        <pc:spChg chg="mod topLvl">
          <ac:chgData name="Philipp Theile | EWI" userId="389f5144-a239-4438-b72c-100d5483c819" providerId="ADAL" clId="{F09E99D6-B178-4DB3-AECB-60DA0AEF7478}" dt="2021-04-24T11:38:23.738" v="9879" actId="164"/>
          <ac:spMkLst>
            <pc:docMk/>
            <pc:sldMk cId="3914249682" sldId="283"/>
            <ac:spMk id="9" creationId="{698D3F08-E543-41B3-A777-1ADE77648689}"/>
          </ac:spMkLst>
        </pc:spChg>
        <pc:spChg chg="mod">
          <ac:chgData name="Philipp Theile | EWI" userId="389f5144-a239-4438-b72c-100d5483c819" providerId="ADAL" clId="{F09E99D6-B178-4DB3-AECB-60DA0AEF7478}" dt="2021-04-24T11:40:23.663" v="9919"/>
          <ac:spMkLst>
            <pc:docMk/>
            <pc:sldMk cId="3914249682" sldId="283"/>
            <ac:spMk id="11" creationId="{769EDDEB-9A52-490C-A7FB-005B6AB4DEF9}"/>
          </ac:spMkLst>
        </pc:spChg>
        <pc:spChg chg="mod">
          <ac:chgData name="Philipp Theile | EWI" userId="389f5144-a239-4438-b72c-100d5483c819" providerId="ADAL" clId="{F09E99D6-B178-4DB3-AECB-60DA0AEF7478}" dt="2021-04-24T11:40:23.661" v="9915"/>
          <ac:spMkLst>
            <pc:docMk/>
            <pc:sldMk cId="3914249682" sldId="283"/>
            <ac:spMk id="12" creationId="{F23EE5BE-6654-4DD5-AD3D-C1781E68216C}"/>
          </ac:spMkLst>
        </pc:spChg>
        <pc:spChg chg="del mod">
          <ac:chgData name="Philipp Theile | EWI" userId="389f5144-a239-4438-b72c-100d5483c819" providerId="ADAL" clId="{F09E99D6-B178-4DB3-AECB-60DA0AEF7478}" dt="2021-04-24T11:25:55.797" v="9510" actId="478"/>
          <ac:spMkLst>
            <pc:docMk/>
            <pc:sldMk cId="3914249682" sldId="283"/>
            <ac:spMk id="24" creationId="{A3029CFD-87CF-4862-84D3-A1F66E772DBB}"/>
          </ac:spMkLst>
        </pc:spChg>
        <pc:spChg chg="mod">
          <ac:chgData name="Philipp Theile | EWI" userId="389f5144-a239-4438-b72c-100d5483c819" providerId="ADAL" clId="{F09E99D6-B178-4DB3-AECB-60DA0AEF7478}" dt="2021-04-25T12:43:20.428" v="10451"/>
          <ac:spMkLst>
            <pc:docMk/>
            <pc:sldMk cId="3914249682" sldId="283"/>
            <ac:spMk id="27" creationId="{FF8A7D44-4C36-4092-AB45-EE9196CAC84E}"/>
          </ac:spMkLst>
        </pc:spChg>
        <pc:spChg chg="del">
          <ac:chgData name="Philipp Theile | EWI" userId="389f5144-a239-4438-b72c-100d5483c819" providerId="ADAL" clId="{F09E99D6-B178-4DB3-AECB-60DA0AEF7478}" dt="2021-04-24T11:26:02.429" v="9513" actId="478"/>
          <ac:spMkLst>
            <pc:docMk/>
            <pc:sldMk cId="3914249682" sldId="283"/>
            <ac:spMk id="28" creationId="{77005B40-19B1-45A3-B413-D021B6CC3DF8}"/>
          </ac:spMkLst>
        </pc:spChg>
        <pc:spChg chg="del mod">
          <ac:chgData name="Philipp Theile | EWI" userId="389f5144-a239-4438-b72c-100d5483c819" providerId="ADAL" clId="{F09E99D6-B178-4DB3-AECB-60DA0AEF7478}" dt="2021-04-24T11:25:00.853" v="9475" actId="478"/>
          <ac:spMkLst>
            <pc:docMk/>
            <pc:sldMk cId="3914249682" sldId="283"/>
            <ac:spMk id="29" creationId="{0A9A73D5-2FF9-4A57-BEEB-EFC30240AB8B}"/>
          </ac:spMkLst>
        </pc:spChg>
        <pc:spChg chg="del mod">
          <ac:chgData name="Philipp Theile | EWI" userId="389f5144-a239-4438-b72c-100d5483c819" providerId="ADAL" clId="{F09E99D6-B178-4DB3-AECB-60DA0AEF7478}" dt="2021-04-24T11:25:18.372" v="9478" actId="478"/>
          <ac:spMkLst>
            <pc:docMk/>
            <pc:sldMk cId="3914249682" sldId="283"/>
            <ac:spMk id="30" creationId="{22EFE218-6418-40A8-B27A-CEAB26166BEA}"/>
          </ac:spMkLst>
        </pc:spChg>
        <pc:spChg chg="del mod">
          <ac:chgData name="Philipp Theile | EWI" userId="389f5144-a239-4438-b72c-100d5483c819" providerId="ADAL" clId="{F09E99D6-B178-4DB3-AECB-60DA0AEF7478}" dt="2021-04-24T11:25:13.949" v="9476" actId="478"/>
          <ac:spMkLst>
            <pc:docMk/>
            <pc:sldMk cId="3914249682" sldId="283"/>
            <ac:spMk id="31" creationId="{2F188ADB-13CE-497E-A98D-D752921AFD00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44" creationId="{62DA28EB-DEFC-40EC-993A-C5B0AE73F6A0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45" creationId="{A2FDDBA8-D67C-4284-93D1-0B830418BAA2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46" creationId="{931A6F8C-AF67-4397-8664-4DB6027F9B57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47" creationId="{B5DA9602-FD77-47AE-AB88-10D33D831262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49" creationId="{84B83792-A0DF-4EF9-8945-9F2D1E54983A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50" creationId="{4F110591-7117-4EDC-8524-F7816E50E02E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51" creationId="{BA0DA61F-1935-47A4-9944-F1BE2DD4C57E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52" creationId="{8EE1B110-4426-4B17-BB53-3D7C74343AE0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53" creationId="{41730349-FAEE-4170-AA33-105B51D50F60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54" creationId="{6790EE85-9EA0-4D5C-80B0-621CA833153A}"/>
          </ac:spMkLst>
        </pc:spChg>
        <pc:spChg chg="mod">
          <ac:chgData name="Philipp Theile | EWI" userId="389f5144-a239-4438-b72c-100d5483c819" providerId="ADAL" clId="{F09E99D6-B178-4DB3-AECB-60DA0AEF7478}" dt="2021-04-24T11:37:40.498" v="9856" actId="165"/>
          <ac:spMkLst>
            <pc:docMk/>
            <pc:sldMk cId="3914249682" sldId="283"/>
            <ac:spMk id="55" creationId="{ED594089-B7C3-4000-9FB8-4B41381E8B11}"/>
          </ac:spMkLst>
        </pc:spChg>
        <pc:spChg chg="mod">
          <ac:chgData name="Philipp Theile | EWI" userId="389f5144-a239-4438-b72c-100d5483c819" providerId="ADAL" clId="{F09E99D6-B178-4DB3-AECB-60DA0AEF7478}" dt="2021-04-24T11:37:50.222" v="9859"/>
          <ac:spMkLst>
            <pc:docMk/>
            <pc:sldMk cId="3914249682" sldId="283"/>
            <ac:spMk id="57" creationId="{C274162C-81C4-402D-A649-AF4E8971AA0D}"/>
          </ac:spMkLst>
        </pc:spChg>
        <pc:spChg chg="mod">
          <ac:chgData name="Philipp Theile | EWI" userId="389f5144-a239-4438-b72c-100d5483c819" providerId="ADAL" clId="{F09E99D6-B178-4DB3-AECB-60DA0AEF7478}" dt="2021-04-24T11:37:50.222" v="9859"/>
          <ac:spMkLst>
            <pc:docMk/>
            <pc:sldMk cId="3914249682" sldId="283"/>
            <ac:spMk id="58" creationId="{2752491D-3101-45D8-9312-93556D53DC2A}"/>
          </ac:spMkLst>
        </pc:spChg>
        <pc:spChg chg="mod">
          <ac:chgData name="Philipp Theile | EWI" userId="389f5144-a239-4438-b72c-100d5483c819" providerId="ADAL" clId="{F09E99D6-B178-4DB3-AECB-60DA0AEF7478}" dt="2021-04-24T11:37:50.222" v="9859"/>
          <ac:spMkLst>
            <pc:docMk/>
            <pc:sldMk cId="3914249682" sldId="283"/>
            <ac:spMk id="59" creationId="{BC52DEB4-BAF0-48A5-8009-BDE96FEB60CB}"/>
          </ac:spMkLst>
        </pc:spChg>
        <pc:spChg chg="mod">
          <ac:chgData name="Philipp Theile | EWI" userId="389f5144-a239-4438-b72c-100d5483c819" providerId="ADAL" clId="{F09E99D6-B178-4DB3-AECB-60DA0AEF7478}" dt="2021-04-24T11:37:50.222" v="9859"/>
          <ac:spMkLst>
            <pc:docMk/>
            <pc:sldMk cId="3914249682" sldId="283"/>
            <ac:spMk id="60" creationId="{25EA20B0-B25A-4AE3-9B8F-FD7A5FF4EE7D}"/>
          </ac:spMkLst>
        </pc:spChg>
        <pc:spChg chg="mod">
          <ac:chgData name="Philipp Theile | EWI" userId="389f5144-a239-4438-b72c-100d5483c819" providerId="ADAL" clId="{F09E99D6-B178-4DB3-AECB-60DA0AEF7478}" dt="2021-04-24T11:40:23.661" v="9915"/>
          <ac:spMkLst>
            <pc:docMk/>
            <pc:sldMk cId="3914249682" sldId="283"/>
            <ac:spMk id="61" creationId="{D49CB796-FC64-4444-9C1A-72B2902AC546}"/>
          </ac:spMkLst>
        </pc:spChg>
        <pc:spChg chg="mod">
          <ac:chgData name="Philipp Theile | EWI" userId="389f5144-a239-4438-b72c-100d5483c819" providerId="ADAL" clId="{F09E99D6-B178-4DB3-AECB-60DA0AEF7478}" dt="2021-04-24T11:40:23.661" v="9915"/>
          <ac:spMkLst>
            <pc:docMk/>
            <pc:sldMk cId="3914249682" sldId="283"/>
            <ac:spMk id="62" creationId="{80F01BD2-41C0-4396-9FD2-4DCD9A0B02B0}"/>
          </ac:spMkLst>
        </pc:spChg>
        <pc:spChg chg="mod">
          <ac:chgData name="Philipp Theile | EWI" userId="389f5144-a239-4438-b72c-100d5483c819" providerId="ADAL" clId="{F09E99D6-B178-4DB3-AECB-60DA0AEF7478}" dt="2021-04-24T11:40:23.661" v="9915"/>
          <ac:spMkLst>
            <pc:docMk/>
            <pc:sldMk cId="3914249682" sldId="283"/>
            <ac:spMk id="63" creationId="{C457BDF1-7246-44FA-B0FA-BD37F000C692}"/>
          </ac:spMkLst>
        </pc:spChg>
        <pc:spChg chg="mod">
          <ac:chgData name="Philipp Theile | EWI" userId="389f5144-a239-4438-b72c-100d5483c819" providerId="ADAL" clId="{F09E99D6-B178-4DB3-AECB-60DA0AEF7478}" dt="2021-04-24T11:40:23.661" v="9915"/>
          <ac:spMkLst>
            <pc:docMk/>
            <pc:sldMk cId="3914249682" sldId="283"/>
            <ac:spMk id="64" creationId="{18223212-2953-4A2D-9DA7-5A8C98421AAE}"/>
          </ac:spMkLst>
        </pc:spChg>
        <pc:spChg chg="mod">
          <ac:chgData name="Philipp Theile | EWI" userId="389f5144-a239-4438-b72c-100d5483c819" providerId="ADAL" clId="{F09E99D6-B178-4DB3-AECB-60DA0AEF7478}" dt="2021-04-24T11:40:23.661" v="9915"/>
          <ac:spMkLst>
            <pc:docMk/>
            <pc:sldMk cId="3914249682" sldId="283"/>
            <ac:spMk id="65" creationId="{7A40C07F-392A-495C-A97C-E9A3F9B15A6C}"/>
          </ac:spMkLst>
        </pc:spChg>
        <pc:spChg chg="mod">
          <ac:chgData name="Philipp Theile | EWI" userId="389f5144-a239-4438-b72c-100d5483c819" providerId="ADAL" clId="{F09E99D6-B178-4DB3-AECB-60DA0AEF7478}" dt="2021-04-24T11:40:23.661" v="9915"/>
          <ac:spMkLst>
            <pc:docMk/>
            <pc:sldMk cId="3914249682" sldId="283"/>
            <ac:spMk id="66" creationId="{F8B6BF12-6FE5-400B-96B0-B872429C8D55}"/>
          </ac:spMkLst>
        </pc:spChg>
        <pc:spChg chg="del">
          <ac:chgData name="Philipp Theile | EWI" userId="389f5144-a239-4438-b72c-100d5483c819" providerId="ADAL" clId="{F09E99D6-B178-4DB3-AECB-60DA0AEF7478}" dt="2021-04-24T11:41:30.573" v="9962" actId="478"/>
          <ac:spMkLst>
            <pc:docMk/>
            <pc:sldMk cId="3914249682" sldId="283"/>
            <ac:spMk id="70" creationId="{934B459C-98AA-4892-BF52-312AC0F5ACB0}"/>
          </ac:spMkLst>
        </pc:spChg>
        <pc:spChg chg="del">
          <ac:chgData name="Philipp Theile | EWI" userId="389f5144-a239-4438-b72c-100d5483c819" providerId="ADAL" clId="{F09E99D6-B178-4DB3-AECB-60DA0AEF7478}" dt="2021-04-24T11:41:32.869" v="9963" actId="478"/>
          <ac:spMkLst>
            <pc:docMk/>
            <pc:sldMk cId="3914249682" sldId="283"/>
            <ac:spMk id="72" creationId="{29B41012-A563-4211-9F02-D61660CE6404}"/>
          </ac:spMkLst>
        </pc:spChg>
        <pc:spChg chg="add mod">
          <ac:chgData name="Philipp Theile | EWI" userId="389f5144-a239-4438-b72c-100d5483c819" providerId="ADAL" clId="{F09E99D6-B178-4DB3-AECB-60DA0AEF7478}" dt="2021-04-25T12:43:20.427" v="10449"/>
          <ac:spMkLst>
            <pc:docMk/>
            <pc:sldMk cId="3914249682" sldId="283"/>
            <ac:spMk id="74" creationId="{39E4BE94-AA65-4542-B418-0EA1CFBF4072}"/>
          </ac:spMkLst>
        </pc:spChg>
        <pc:spChg chg="add mod">
          <ac:chgData name="Philipp Theile | EWI" userId="389f5144-a239-4438-b72c-100d5483c819" providerId="ADAL" clId="{F09E99D6-B178-4DB3-AECB-60DA0AEF7478}" dt="2021-04-24T11:28:40.640" v="9628" actId="571"/>
          <ac:spMkLst>
            <pc:docMk/>
            <pc:sldMk cId="3914249682" sldId="283"/>
            <ac:spMk id="81" creationId="{293A87BB-DA0D-4828-B647-6FD632CC1720}"/>
          </ac:spMkLst>
        </pc:spChg>
        <pc:spChg chg="add mod">
          <ac:chgData name="Philipp Theile | EWI" userId="389f5144-a239-4438-b72c-100d5483c819" providerId="ADAL" clId="{F09E99D6-B178-4DB3-AECB-60DA0AEF7478}" dt="2021-04-24T11:28:40.640" v="9628" actId="571"/>
          <ac:spMkLst>
            <pc:docMk/>
            <pc:sldMk cId="3914249682" sldId="283"/>
            <ac:spMk id="82" creationId="{F39612EA-0AF5-41AC-9415-981C04A5237D}"/>
          </ac:spMkLst>
        </pc:spChg>
        <pc:spChg chg="add mod">
          <ac:chgData name="Philipp Theile | EWI" userId="389f5144-a239-4438-b72c-100d5483c819" providerId="ADAL" clId="{F09E99D6-B178-4DB3-AECB-60DA0AEF7478}" dt="2021-04-24T11:28:40.640" v="9628" actId="571"/>
          <ac:spMkLst>
            <pc:docMk/>
            <pc:sldMk cId="3914249682" sldId="283"/>
            <ac:spMk id="83" creationId="{5A350EEB-824B-4606-81BC-65F751358619}"/>
          </ac:spMkLst>
        </pc:spChg>
        <pc:spChg chg="mod">
          <ac:chgData name="Philipp Theile | EWI" userId="389f5144-a239-4438-b72c-100d5483c819" providerId="ADAL" clId="{F09E99D6-B178-4DB3-AECB-60DA0AEF7478}" dt="2021-04-24T11:40:23.661" v="9915"/>
          <ac:spMkLst>
            <pc:docMk/>
            <pc:sldMk cId="3914249682" sldId="283"/>
            <ac:spMk id="93" creationId="{BDAE1C8F-237F-4B59-9A94-0E77BB67E652}"/>
          </ac:spMkLst>
        </pc:spChg>
        <pc:grpChg chg="mod topLvl">
          <ac:chgData name="Philipp Theile | EWI" userId="389f5144-a239-4438-b72c-100d5483c819" providerId="ADAL" clId="{F09E99D6-B178-4DB3-AECB-60DA0AEF7478}" dt="2021-04-24T11:38:18.139" v="9878" actId="164"/>
          <ac:grpSpMkLst>
            <pc:docMk/>
            <pc:sldMk cId="3914249682" sldId="283"/>
            <ac:grpSpMk id="3" creationId="{B0E463A8-E794-4BA3-A04C-81667FB0BC3B}"/>
          </ac:grpSpMkLst>
        </pc:grpChg>
        <pc:grpChg chg="mod topLvl">
          <ac:chgData name="Philipp Theile | EWI" userId="389f5144-a239-4438-b72c-100d5483c819" providerId="ADAL" clId="{F09E99D6-B178-4DB3-AECB-60DA0AEF7478}" dt="2021-04-24T11:38:23.738" v="9879" actId="164"/>
          <ac:grpSpMkLst>
            <pc:docMk/>
            <pc:sldMk cId="3914249682" sldId="283"/>
            <ac:grpSpMk id="4" creationId="{F609D27A-1EC4-4103-A02A-56523C99C767}"/>
          </ac:grpSpMkLst>
        </pc:grpChg>
        <pc:grpChg chg="mod">
          <ac:chgData name="Philipp Theile | EWI" userId="389f5144-a239-4438-b72c-100d5483c819" providerId="ADAL" clId="{F09E99D6-B178-4DB3-AECB-60DA0AEF7478}" dt="2021-04-24T11:40:23.663" v="9919"/>
          <ac:grpSpMkLst>
            <pc:docMk/>
            <pc:sldMk cId="3914249682" sldId="283"/>
            <ac:grpSpMk id="5" creationId="{0C580888-61D1-450F-A157-A1960AE2E98D}"/>
          </ac:grpSpMkLst>
        </pc:grpChg>
        <pc:grpChg chg="mod">
          <ac:chgData name="Philipp Theile | EWI" userId="389f5144-a239-4438-b72c-100d5483c819" providerId="ADAL" clId="{F09E99D6-B178-4DB3-AECB-60DA0AEF7478}" dt="2021-04-24T11:40:23.661" v="9915"/>
          <ac:grpSpMkLst>
            <pc:docMk/>
            <pc:sldMk cId="3914249682" sldId="283"/>
            <ac:grpSpMk id="6" creationId="{72AB578D-667C-49D4-849A-64D62FFF3ECE}"/>
          </ac:grpSpMkLst>
        </pc:grpChg>
        <pc:grpChg chg="add mod">
          <ac:chgData name="Philipp Theile | EWI" userId="389f5144-a239-4438-b72c-100d5483c819" providerId="ADAL" clId="{F09E99D6-B178-4DB3-AECB-60DA0AEF7478}" dt="2021-04-25T12:42:51.397" v="10437" actId="1038"/>
          <ac:grpSpMkLst>
            <pc:docMk/>
            <pc:sldMk cId="3914249682" sldId="283"/>
            <ac:grpSpMk id="15" creationId="{FD13A001-9286-43C8-AA79-B201A97EF95A}"/>
          </ac:grpSpMkLst>
        </pc:grpChg>
        <pc:grpChg chg="add mod">
          <ac:chgData name="Philipp Theile | EWI" userId="389f5144-a239-4438-b72c-100d5483c819" providerId="ADAL" clId="{F09E99D6-B178-4DB3-AECB-60DA0AEF7478}" dt="2021-04-25T12:42:51.397" v="10437" actId="1038"/>
          <ac:grpSpMkLst>
            <pc:docMk/>
            <pc:sldMk cId="3914249682" sldId="283"/>
            <ac:grpSpMk id="16" creationId="{8BE45FBA-6803-41E0-AC76-A8B7F34B02A3}"/>
          </ac:grpSpMkLst>
        </pc:grpChg>
        <pc:grpChg chg="add del mod">
          <ac:chgData name="Philipp Theile | EWI" userId="389f5144-a239-4438-b72c-100d5483c819" providerId="ADAL" clId="{F09E99D6-B178-4DB3-AECB-60DA0AEF7478}" dt="2021-04-24T11:37:44.105" v="9857" actId="165"/>
          <ac:grpSpMkLst>
            <pc:docMk/>
            <pc:sldMk cId="3914249682" sldId="283"/>
            <ac:grpSpMk id="17" creationId="{29DCA850-2BA9-45D6-9AE5-2F7C4F6ECA51}"/>
          </ac:grpSpMkLst>
        </pc:grpChg>
        <pc:grpChg chg="add del mod">
          <ac:chgData name="Philipp Theile | EWI" userId="389f5144-a239-4438-b72c-100d5483c819" providerId="ADAL" clId="{F09E99D6-B178-4DB3-AECB-60DA0AEF7478}" dt="2021-04-24T11:37:40.498" v="9856" actId="165"/>
          <ac:grpSpMkLst>
            <pc:docMk/>
            <pc:sldMk cId="3914249682" sldId="283"/>
            <ac:grpSpMk id="18" creationId="{C3CC6186-2ADD-4E0E-9CAF-6AE4203124B5}"/>
          </ac:grpSpMkLst>
        </pc:grpChg>
        <pc:grpChg chg="add mod">
          <ac:chgData name="Philipp Theile | EWI" userId="389f5144-a239-4438-b72c-100d5483c819" providerId="ADAL" clId="{F09E99D6-B178-4DB3-AECB-60DA0AEF7478}" dt="2021-04-25T12:42:51.397" v="10437" actId="1038"/>
          <ac:grpSpMkLst>
            <pc:docMk/>
            <pc:sldMk cId="3914249682" sldId="283"/>
            <ac:grpSpMk id="19" creationId="{E783B62D-A234-4EC8-BC58-C2DA103BCF0C}"/>
          </ac:grpSpMkLst>
        </pc:grpChg>
        <pc:grpChg chg="add mod">
          <ac:chgData name="Philipp Theile | EWI" userId="389f5144-a239-4438-b72c-100d5483c819" providerId="ADAL" clId="{F09E99D6-B178-4DB3-AECB-60DA0AEF7478}" dt="2021-04-25T12:42:51.397" v="10437" actId="1038"/>
          <ac:grpSpMkLst>
            <pc:docMk/>
            <pc:sldMk cId="3914249682" sldId="283"/>
            <ac:grpSpMk id="20" creationId="{61A147C0-4308-44D5-B48C-5E57673F773A}"/>
          </ac:grpSpMkLst>
        </pc:grpChg>
        <pc:grpChg chg="mod">
          <ac:chgData name="Philipp Theile | EWI" userId="389f5144-a239-4438-b72c-100d5483c819" providerId="ADAL" clId="{F09E99D6-B178-4DB3-AECB-60DA0AEF7478}" dt="2021-04-24T11:37:40.498" v="9856" actId="165"/>
          <ac:grpSpMkLst>
            <pc:docMk/>
            <pc:sldMk cId="3914249682" sldId="283"/>
            <ac:grpSpMk id="37" creationId="{A9E62213-516F-4ED7-A867-75BF8453E846}"/>
          </ac:grpSpMkLst>
        </pc:grpChg>
        <pc:grpChg chg="mod">
          <ac:chgData name="Philipp Theile | EWI" userId="389f5144-a239-4438-b72c-100d5483c819" providerId="ADAL" clId="{F09E99D6-B178-4DB3-AECB-60DA0AEF7478}" dt="2021-04-24T11:37:50.222" v="9859"/>
          <ac:grpSpMkLst>
            <pc:docMk/>
            <pc:sldMk cId="3914249682" sldId="283"/>
            <ac:grpSpMk id="38" creationId="{CC7DEED6-64A4-46F4-8D0F-3595341C28DE}"/>
          </ac:grpSpMkLst>
        </pc:grpChg>
        <pc:grpChg chg="mod">
          <ac:chgData name="Philipp Theile | EWI" userId="389f5144-a239-4438-b72c-100d5483c819" providerId="ADAL" clId="{F09E99D6-B178-4DB3-AECB-60DA0AEF7478}" dt="2021-04-24T11:40:23.661" v="9915"/>
          <ac:grpSpMkLst>
            <pc:docMk/>
            <pc:sldMk cId="3914249682" sldId="283"/>
            <ac:grpSpMk id="41" creationId="{EA4DA14E-BFD6-455B-B3CF-9377E343E948}"/>
          </ac:grpSpMkLst>
        </pc:grpChg>
        <pc:grpChg chg="mod">
          <ac:chgData name="Philipp Theile | EWI" userId="389f5144-a239-4438-b72c-100d5483c819" providerId="ADAL" clId="{F09E99D6-B178-4DB3-AECB-60DA0AEF7478}" dt="2021-04-24T11:40:23.663" v="9919"/>
          <ac:grpSpMkLst>
            <pc:docMk/>
            <pc:sldMk cId="3914249682" sldId="283"/>
            <ac:grpSpMk id="67" creationId="{77FD29BB-6E3C-4ABC-BB12-7E21083EFE68}"/>
          </ac:grpSpMkLst>
        </pc:grpChg>
        <pc:cxnChg chg="mod">
          <ac:chgData name="Philipp Theile | EWI" userId="389f5144-a239-4438-b72c-100d5483c819" providerId="ADAL" clId="{F09E99D6-B178-4DB3-AECB-60DA0AEF7478}" dt="2021-04-24T11:37:40.498" v="9856" actId="165"/>
          <ac:cxnSpMkLst>
            <pc:docMk/>
            <pc:sldMk cId="3914249682" sldId="283"/>
            <ac:cxnSpMk id="33" creationId="{2A3F84F8-9E3C-46C2-B665-21239AE30FD0}"/>
          </ac:cxnSpMkLst>
        </pc:cxnChg>
        <pc:cxnChg chg="mod">
          <ac:chgData name="Philipp Theile | EWI" userId="389f5144-a239-4438-b72c-100d5483c819" providerId="ADAL" clId="{F09E99D6-B178-4DB3-AECB-60DA0AEF7478}" dt="2021-04-24T11:37:40.498" v="9856" actId="165"/>
          <ac:cxnSpMkLst>
            <pc:docMk/>
            <pc:sldMk cId="3914249682" sldId="283"/>
            <ac:cxnSpMk id="34" creationId="{795ADC82-F45B-422E-B010-CA5A0846DB29}"/>
          </ac:cxnSpMkLst>
        </pc:cxnChg>
        <pc:cxnChg chg="mod">
          <ac:chgData name="Philipp Theile | EWI" userId="389f5144-a239-4438-b72c-100d5483c819" providerId="ADAL" clId="{F09E99D6-B178-4DB3-AECB-60DA0AEF7478}" dt="2021-04-24T11:37:50.222" v="9859"/>
          <ac:cxnSpMkLst>
            <pc:docMk/>
            <pc:sldMk cId="3914249682" sldId="283"/>
            <ac:cxnSpMk id="39" creationId="{148C4C33-60CC-41AD-9A98-4AFE5A343CCE}"/>
          </ac:cxnSpMkLst>
        </pc:cxnChg>
        <pc:cxnChg chg="mod">
          <ac:chgData name="Philipp Theile | EWI" userId="389f5144-a239-4438-b72c-100d5483c819" providerId="ADAL" clId="{F09E99D6-B178-4DB3-AECB-60DA0AEF7478}" dt="2021-04-24T11:37:50.222" v="9859"/>
          <ac:cxnSpMkLst>
            <pc:docMk/>
            <pc:sldMk cId="3914249682" sldId="283"/>
            <ac:cxnSpMk id="40" creationId="{6482AC20-0FCD-4B3A-A267-B630F48395FC}"/>
          </ac:cxnSpMkLst>
        </pc:cxnChg>
        <pc:cxnChg chg="mod">
          <ac:chgData name="Philipp Theile | EWI" userId="389f5144-a239-4438-b72c-100d5483c819" providerId="ADAL" clId="{F09E99D6-B178-4DB3-AECB-60DA0AEF7478}" dt="2021-04-24T11:40:23.661" v="9915"/>
          <ac:cxnSpMkLst>
            <pc:docMk/>
            <pc:sldMk cId="3914249682" sldId="283"/>
            <ac:cxnSpMk id="42" creationId="{97174AD8-1206-4796-A17A-58C14A7E59C9}"/>
          </ac:cxnSpMkLst>
        </pc:cxnChg>
        <pc:cxnChg chg="mod">
          <ac:chgData name="Philipp Theile | EWI" userId="389f5144-a239-4438-b72c-100d5483c819" providerId="ADAL" clId="{F09E99D6-B178-4DB3-AECB-60DA0AEF7478}" dt="2021-04-24T11:40:23.661" v="9915"/>
          <ac:cxnSpMkLst>
            <pc:docMk/>
            <pc:sldMk cId="3914249682" sldId="283"/>
            <ac:cxnSpMk id="43" creationId="{A473D4AE-E1B8-47D9-806A-41B4280A6FAC}"/>
          </ac:cxnSpMkLst>
        </pc:cxnChg>
        <pc:cxnChg chg="mod">
          <ac:chgData name="Philipp Theile | EWI" userId="389f5144-a239-4438-b72c-100d5483c819" providerId="ADAL" clId="{F09E99D6-B178-4DB3-AECB-60DA0AEF7478}" dt="2021-04-25T12:43:27.907" v="10452" actId="1038"/>
          <ac:cxnSpMkLst>
            <pc:docMk/>
            <pc:sldMk cId="3914249682" sldId="283"/>
            <ac:cxnSpMk id="68" creationId="{96F50AC0-FEDC-4A88-B54E-4F9BFFB490A2}"/>
          </ac:cxnSpMkLst>
        </pc:cxnChg>
        <pc:cxnChg chg="mod">
          <ac:chgData name="Philipp Theile | EWI" userId="389f5144-a239-4438-b72c-100d5483c819" providerId="ADAL" clId="{F09E99D6-B178-4DB3-AECB-60DA0AEF7478}" dt="2021-04-24T11:40:23.663" v="9919"/>
          <ac:cxnSpMkLst>
            <pc:docMk/>
            <pc:sldMk cId="3914249682" sldId="283"/>
            <ac:cxnSpMk id="69" creationId="{6FC31A61-2CB7-4A09-936E-21BFED01B0D3}"/>
          </ac:cxnSpMkLst>
        </pc:cxnChg>
        <pc:cxnChg chg="mod">
          <ac:chgData name="Philipp Theile | EWI" userId="389f5144-a239-4438-b72c-100d5483c819" providerId="ADAL" clId="{F09E99D6-B178-4DB3-AECB-60DA0AEF7478}" dt="2021-04-24T11:40:23.663" v="9919"/>
          <ac:cxnSpMkLst>
            <pc:docMk/>
            <pc:sldMk cId="3914249682" sldId="283"/>
            <ac:cxnSpMk id="71" creationId="{92FC366F-996C-4B9B-B927-A7965D6B41A5}"/>
          </ac:cxnSpMkLst>
        </pc:cxnChg>
        <pc:cxnChg chg="mod">
          <ac:chgData name="Philipp Theile | EWI" userId="389f5144-a239-4438-b72c-100d5483c819" providerId="ADAL" clId="{F09E99D6-B178-4DB3-AECB-60DA0AEF7478}" dt="2021-04-24T11:40:23.663" v="9919"/>
          <ac:cxnSpMkLst>
            <pc:docMk/>
            <pc:sldMk cId="3914249682" sldId="283"/>
            <ac:cxnSpMk id="73" creationId="{54F6CDA7-2C25-48BD-B349-8BEA19E2B766}"/>
          </ac:cxnSpMkLst>
        </pc:cxnChg>
        <pc:cxnChg chg="mod">
          <ac:chgData name="Philipp Theile | EWI" userId="389f5144-a239-4438-b72c-100d5483c819" providerId="ADAL" clId="{F09E99D6-B178-4DB3-AECB-60DA0AEF7478}" dt="2021-04-25T12:43:57.813" v="10453" actId="1035"/>
          <ac:cxnSpMkLst>
            <pc:docMk/>
            <pc:sldMk cId="3914249682" sldId="283"/>
            <ac:cxnSpMk id="75" creationId="{4A489F8C-2E32-43EA-BFCC-2C7F0AB753BD}"/>
          </ac:cxnSpMkLst>
        </pc:cxnChg>
        <pc:cxnChg chg="mod">
          <ac:chgData name="Philipp Theile | EWI" userId="389f5144-a239-4438-b72c-100d5483c819" providerId="ADAL" clId="{F09E99D6-B178-4DB3-AECB-60DA0AEF7478}" dt="2021-04-25T12:44:00.172" v="10454" actId="1035"/>
          <ac:cxnSpMkLst>
            <pc:docMk/>
            <pc:sldMk cId="3914249682" sldId="283"/>
            <ac:cxnSpMk id="76" creationId="{A6AC5BE4-E46C-410A-BBA2-C97E9A911EBB}"/>
          </ac:cxnSpMkLst>
        </pc:cxnChg>
        <pc:cxnChg chg="mod">
          <ac:chgData name="Philipp Theile | EWI" userId="389f5144-a239-4438-b72c-100d5483c819" providerId="ADAL" clId="{F09E99D6-B178-4DB3-AECB-60DA0AEF7478}" dt="2021-04-24T11:40:23.663" v="9919"/>
          <ac:cxnSpMkLst>
            <pc:docMk/>
            <pc:sldMk cId="3914249682" sldId="283"/>
            <ac:cxnSpMk id="77" creationId="{4B97FE2B-A4FA-472F-B7AF-10030A478B55}"/>
          </ac:cxnSpMkLst>
        </pc:cxnChg>
        <pc:cxnChg chg="mod">
          <ac:chgData name="Philipp Theile | EWI" userId="389f5144-a239-4438-b72c-100d5483c819" providerId="ADAL" clId="{F09E99D6-B178-4DB3-AECB-60DA0AEF7478}" dt="2021-04-24T11:40:23.663" v="9919"/>
          <ac:cxnSpMkLst>
            <pc:docMk/>
            <pc:sldMk cId="3914249682" sldId="283"/>
            <ac:cxnSpMk id="78" creationId="{A785CC8D-E83B-49D1-A53A-9E8CB2CF23AB}"/>
          </ac:cxnSpMkLst>
        </pc:cxnChg>
        <pc:cxnChg chg="mod">
          <ac:chgData name="Philipp Theile | EWI" userId="389f5144-a239-4438-b72c-100d5483c819" providerId="ADAL" clId="{F09E99D6-B178-4DB3-AECB-60DA0AEF7478}" dt="2021-04-24T11:40:23.663" v="9919"/>
          <ac:cxnSpMkLst>
            <pc:docMk/>
            <pc:sldMk cId="3914249682" sldId="283"/>
            <ac:cxnSpMk id="79" creationId="{8A12D1B2-4F51-4A2D-865F-DD8A8DC086EA}"/>
          </ac:cxnSpMkLst>
        </pc:cxnChg>
        <pc:cxnChg chg="mod">
          <ac:chgData name="Philipp Theile | EWI" userId="389f5144-a239-4438-b72c-100d5483c819" providerId="ADAL" clId="{F09E99D6-B178-4DB3-AECB-60DA0AEF7478}" dt="2021-04-24T11:41:17.415" v="9961" actId="1038"/>
          <ac:cxnSpMkLst>
            <pc:docMk/>
            <pc:sldMk cId="3914249682" sldId="283"/>
            <ac:cxnSpMk id="80" creationId="{04B781F0-6AFE-472C-8E4A-B22AD5900476}"/>
          </ac:cxnSpMkLst>
        </pc:cxnChg>
        <pc:cxnChg chg="del mod">
          <ac:chgData name="Philipp Theile | EWI" userId="389f5144-a239-4438-b72c-100d5483c819" providerId="ADAL" clId="{F09E99D6-B178-4DB3-AECB-60DA0AEF7478}" dt="2021-04-24T11:22:09.016" v="9425" actId="478"/>
          <ac:cxnSpMkLst>
            <pc:docMk/>
            <pc:sldMk cId="3914249682" sldId="283"/>
            <ac:cxnSpMk id="84" creationId="{744B8330-0D20-46E4-9A1E-5489CC5881DF}"/>
          </ac:cxnSpMkLst>
        </pc:cxnChg>
        <pc:cxnChg chg="del mod">
          <ac:chgData name="Philipp Theile | EWI" userId="389f5144-a239-4438-b72c-100d5483c819" providerId="ADAL" clId="{F09E99D6-B178-4DB3-AECB-60DA0AEF7478}" dt="2021-04-24T11:22:10.990" v="9426" actId="478"/>
          <ac:cxnSpMkLst>
            <pc:docMk/>
            <pc:sldMk cId="3914249682" sldId="283"/>
            <ac:cxnSpMk id="87" creationId="{43659A63-9006-4651-B942-D7591C342B10}"/>
          </ac:cxnSpMkLst>
        </pc:cxnChg>
        <pc:cxnChg chg="del mod">
          <ac:chgData name="Philipp Theile | EWI" userId="389f5144-a239-4438-b72c-100d5483c819" providerId="ADAL" clId="{F09E99D6-B178-4DB3-AECB-60DA0AEF7478}" dt="2021-04-24T11:25:15.661" v="9477" actId="478"/>
          <ac:cxnSpMkLst>
            <pc:docMk/>
            <pc:sldMk cId="3914249682" sldId="283"/>
            <ac:cxnSpMk id="90" creationId="{6F781D0A-E5AD-45DF-9FB1-3B4BBEC59CCE}"/>
          </ac:cxnSpMkLst>
        </pc:cxnChg>
      </pc:sldChg>
      <pc:sldChg chg="addSp delSp modSp mod ord delAnim">
        <pc:chgData name="Philipp Theile | EWI" userId="389f5144-a239-4438-b72c-100d5483c819" providerId="ADAL" clId="{F09E99D6-B178-4DB3-AECB-60DA0AEF7478}" dt="2021-04-28T07:02:44.744" v="13087"/>
        <pc:sldMkLst>
          <pc:docMk/>
          <pc:sldMk cId="794490125" sldId="284"/>
        </pc:sldMkLst>
        <pc:spChg chg="mod">
          <ac:chgData name="Philipp Theile | EWI" userId="389f5144-a239-4438-b72c-100d5483c819" providerId="ADAL" clId="{F09E99D6-B178-4DB3-AECB-60DA0AEF7478}" dt="2021-04-26T08:07:36.639" v="12538" actId="20577"/>
          <ac:spMkLst>
            <pc:docMk/>
            <pc:sldMk cId="794490125" sldId="284"/>
            <ac:spMk id="3" creationId="{00000000-0000-0000-0000-000000000000}"/>
          </ac:spMkLst>
        </pc:spChg>
        <pc:spChg chg="add mod">
          <ac:chgData name="Philipp Theile | EWI" userId="389f5144-a239-4438-b72c-100d5483c819" providerId="ADAL" clId="{F09E99D6-B178-4DB3-AECB-60DA0AEF7478}" dt="2021-04-26T08:04:02.790" v="12525" actId="20577"/>
          <ac:spMkLst>
            <pc:docMk/>
            <pc:sldMk cId="794490125" sldId="284"/>
            <ac:spMk id="4" creationId="{8E65BF59-17AB-451B-9E4D-36BB427ED3E7}"/>
          </ac:spMkLst>
        </pc:spChg>
        <pc:spChg chg="mod">
          <ac:chgData name="Philipp Theile | EWI" userId="389f5144-a239-4438-b72c-100d5483c819" providerId="ADAL" clId="{F09E99D6-B178-4DB3-AECB-60DA0AEF7478}" dt="2021-04-27T09:14:55.457" v="13039" actId="1076"/>
          <ac:spMkLst>
            <pc:docMk/>
            <pc:sldMk cId="794490125" sldId="284"/>
            <ac:spMk id="10" creationId="{319F0A7D-3498-43CC-A0A2-214E48794739}"/>
          </ac:spMkLst>
        </pc:spChg>
        <pc:spChg chg="add mod">
          <ac:chgData name="Philipp Theile | EWI" userId="389f5144-a239-4438-b72c-100d5483c819" providerId="ADAL" clId="{F09E99D6-B178-4DB3-AECB-60DA0AEF7478}" dt="2021-04-27T09:15:16.131" v="13075" actId="20577"/>
          <ac:spMkLst>
            <pc:docMk/>
            <pc:sldMk cId="794490125" sldId="284"/>
            <ac:spMk id="12" creationId="{6DC1A127-BC91-4404-99B9-5599AF1DAB69}"/>
          </ac:spMkLst>
        </pc:spChg>
        <pc:spChg chg="mod">
          <ac:chgData name="Philipp Theile | EWI" userId="389f5144-a239-4438-b72c-100d5483c819" providerId="ADAL" clId="{F09E99D6-B178-4DB3-AECB-60DA0AEF7478}" dt="2021-04-26T08:06:03.911" v="12537" actId="20577"/>
          <ac:spMkLst>
            <pc:docMk/>
            <pc:sldMk cId="794490125" sldId="284"/>
            <ac:spMk id="13" creationId="{D5AAAEE1-2FE5-45B7-B75D-3F851C79A9A0}"/>
          </ac:spMkLst>
        </pc:spChg>
        <pc:spChg chg="del">
          <ac:chgData name="Philipp Theile | EWI" userId="389f5144-a239-4438-b72c-100d5483c819" providerId="ADAL" clId="{F09E99D6-B178-4DB3-AECB-60DA0AEF7478}" dt="2021-04-25T14:01:34.867" v="10645" actId="478"/>
          <ac:spMkLst>
            <pc:docMk/>
            <pc:sldMk cId="794490125" sldId="284"/>
            <ac:spMk id="15" creationId="{D14747AA-A73D-49ED-8EFD-548E0B5E282E}"/>
          </ac:spMkLst>
        </pc:spChg>
        <pc:spChg chg="del">
          <ac:chgData name="Philipp Theile | EWI" userId="389f5144-a239-4438-b72c-100d5483c819" providerId="ADAL" clId="{F09E99D6-B178-4DB3-AECB-60DA0AEF7478}" dt="2021-04-25T13:57:22.706" v="10556" actId="478"/>
          <ac:spMkLst>
            <pc:docMk/>
            <pc:sldMk cId="794490125" sldId="284"/>
            <ac:spMk id="17" creationId="{159B3C8D-159C-446A-A927-E991D8237625}"/>
          </ac:spMkLst>
        </pc:spChg>
        <pc:spChg chg="mod">
          <ac:chgData name="Philipp Theile | EWI" userId="389f5144-a239-4438-b72c-100d5483c819" providerId="ADAL" clId="{F09E99D6-B178-4DB3-AECB-60DA0AEF7478}" dt="2021-04-26T08:09:19.999" v="12557" actId="1035"/>
          <ac:spMkLst>
            <pc:docMk/>
            <pc:sldMk cId="794490125" sldId="284"/>
            <ac:spMk id="19" creationId="{3AE35D18-080A-4F5B-AFF0-1B488A9FEB73}"/>
          </ac:spMkLst>
        </pc:spChg>
        <pc:picChg chg="add del mod">
          <ac:chgData name="Philipp Theile | EWI" userId="389f5144-a239-4438-b72c-100d5483c819" providerId="ADAL" clId="{F09E99D6-B178-4DB3-AECB-60DA0AEF7478}" dt="2021-04-25T13:57:47.842" v="10558" actId="478"/>
          <ac:picMkLst>
            <pc:docMk/>
            <pc:sldMk cId="794490125" sldId="284"/>
            <ac:picMk id="5" creationId="{4CD98795-4E18-4556-A3B1-452210AF60A1}"/>
          </ac:picMkLst>
        </pc:picChg>
        <pc:picChg chg="add mod">
          <ac:chgData name="Philipp Theile | EWI" userId="389f5144-a239-4438-b72c-100d5483c819" providerId="ADAL" clId="{F09E99D6-B178-4DB3-AECB-60DA0AEF7478}" dt="2021-04-25T14:02:15.276" v="10659" actId="14100"/>
          <ac:picMkLst>
            <pc:docMk/>
            <pc:sldMk cId="794490125" sldId="284"/>
            <ac:picMk id="7" creationId="{B5734A0A-D286-4A4F-A73F-D9A867332CFD}"/>
          </ac:picMkLst>
        </pc:picChg>
        <pc:picChg chg="add mod">
          <ac:chgData name="Philipp Theile | EWI" userId="389f5144-a239-4438-b72c-100d5483c819" providerId="ADAL" clId="{F09E99D6-B178-4DB3-AECB-60DA0AEF7478}" dt="2021-04-28T07:02:44.744" v="13087"/>
          <ac:picMkLst>
            <pc:docMk/>
            <pc:sldMk cId="794490125" sldId="284"/>
            <ac:picMk id="8" creationId="{3E07A3D5-2F5B-49B3-A906-A0EFBB397628}"/>
          </ac:picMkLst>
        </pc:picChg>
        <pc:picChg chg="add del mod ord">
          <ac:chgData name="Philipp Theile | EWI" userId="389f5144-a239-4438-b72c-100d5483c819" providerId="ADAL" clId="{F09E99D6-B178-4DB3-AECB-60DA0AEF7478}" dt="2021-04-28T07:02:27.192" v="13081" actId="478"/>
          <ac:picMkLst>
            <pc:docMk/>
            <pc:sldMk cId="794490125" sldId="284"/>
            <ac:picMk id="9" creationId="{0B5306B8-2028-4B68-824E-BD49D1ACBDB3}"/>
          </ac:picMkLst>
        </pc:picChg>
        <pc:picChg chg="del">
          <ac:chgData name="Philipp Theile | EWI" userId="389f5144-a239-4438-b72c-100d5483c819" providerId="ADAL" clId="{F09E99D6-B178-4DB3-AECB-60DA0AEF7478}" dt="2021-04-25T13:54:44.026" v="10472" actId="478"/>
          <ac:picMkLst>
            <pc:docMk/>
            <pc:sldMk cId="794490125" sldId="284"/>
            <ac:picMk id="20" creationId="{1DF16A62-2B0F-41E7-9F48-78709AA5E25F}"/>
          </ac:picMkLst>
        </pc:picChg>
        <pc:picChg chg="del">
          <ac:chgData name="Philipp Theile | EWI" userId="389f5144-a239-4438-b72c-100d5483c819" providerId="ADAL" clId="{F09E99D6-B178-4DB3-AECB-60DA0AEF7478}" dt="2021-04-25T13:54:44.834" v="10473" actId="478"/>
          <ac:picMkLst>
            <pc:docMk/>
            <pc:sldMk cId="794490125" sldId="284"/>
            <ac:picMk id="21" creationId="{656E63EB-6284-41B7-B7F9-804F94FECEA5}"/>
          </ac:picMkLst>
        </pc:picChg>
        <pc:cxnChg chg="add del mod">
          <ac:chgData name="Philipp Theile | EWI" userId="389f5144-a239-4438-b72c-100d5483c819" providerId="ADAL" clId="{F09E99D6-B178-4DB3-AECB-60DA0AEF7478}" dt="2021-04-25T13:58:24.722" v="10563" actId="478"/>
          <ac:cxnSpMkLst>
            <pc:docMk/>
            <pc:sldMk cId="794490125" sldId="284"/>
            <ac:cxnSpMk id="14" creationId="{1EE9BDEA-AAA5-4B6D-AE05-CF4165E16BC2}"/>
          </ac:cxnSpMkLst>
        </pc:cxnChg>
        <pc:cxnChg chg="add mod">
          <ac:chgData name="Philipp Theile | EWI" userId="389f5144-a239-4438-b72c-100d5483c819" providerId="ADAL" clId="{F09E99D6-B178-4DB3-AECB-60DA0AEF7478}" dt="2021-04-26T08:09:23.590" v="12559" actId="1035"/>
          <ac:cxnSpMkLst>
            <pc:docMk/>
            <pc:sldMk cId="794490125" sldId="284"/>
            <ac:cxnSpMk id="16" creationId="{9764217E-0146-45C4-B162-90EF483BB08A}"/>
          </ac:cxnSpMkLst>
        </pc:cxnChg>
      </pc:sldChg>
      <pc:sldChg chg="addSp delSp modSp new mod ord">
        <pc:chgData name="Philipp Theile | EWI" userId="389f5144-a239-4438-b72c-100d5483c819" providerId="ADAL" clId="{F09E99D6-B178-4DB3-AECB-60DA0AEF7478}" dt="2021-04-26T08:58:02.204" v="13036"/>
        <pc:sldMkLst>
          <pc:docMk/>
          <pc:sldMk cId="3592637296" sldId="287"/>
        </pc:sldMkLst>
        <pc:spChg chg="del mod">
          <ac:chgData name="Philipp Theile | EWI" userId="389f5144-a239-4438-b72c-100d5483c819" providerId="ADAL" clId="{F09E99D6-B178-4DB3-AECB-60DA0AEF7478}" dt="2021-04-25T15:48:34.543" v="12220"/>
          <ac:spMkLst>
            <pc:docMk/>
            <pc:sldMk cId="3592637296" sldId="287"/>
            <ac:spMk id="3" creationId="{AFA0F66E-C41D-4BC8-B2D9-7336A88A6F1A}"/>
          </ac:spMkLst>
        </pc:spChg>
        <pc:spChg chg="add del mod">
          <ac:chgData name="Philipp Theile | EWI" userId="389f5144-a239-4438-b72c-100d5483c819" providerId="ADAL" clId="{F09E99D6-B178-4DB3-AECB-60DA0AEF7478}" dt="2021-04-26T07:04:24.407" v="12224"/>
          <ac:spMkLst>
            <pc:docMk/>
            <pc:sldMk cId="3592637296" sldId="287"/>
            <ac:spMk id="4" creationId="{09C5C9B4-8F37-490A-BC17-261C256BF06F}"/>
          </ac:spMkLst>
        </pc:spChg>
        <pc:spChg chg="del">
          <ac:chgData name="Philipp Theile | EWI" userId="389f5144-a239-4438-b72c-100d5483c819" providerId="ADAL" clId="{F09E99D6-B178-4DB3-AECB-60DA0AEF7478}" dt="2021-04-25T15:48:24.097" v="12218" actId="478"/>
          <ac:spMkLst>
            <pc:docMk/>
            <pc:sldMk cId="3592637296" sldId="287"/>
            <ac:spMk id="4" creationId="{CF03D3E9-EEF4-4428-93F4-749C3FF78D1C}"/>
          </ac:spMkLst>
        </pc:spChg>
        <pc:spChg chg="add del mod">
          <ac:chgData name="Philipp Theile | EWI" userId="389f5144-a239-4438-b72c-100d5483c819" providerId="ADAL" clId="{F09E99D6-B178-4DB3-AECB-60DA0AEF7478}" dt="2021-04-26T07:04:47.593" v="12236"/>
          <ac:spMkLst>
            <pc:docMk/>
            <pc:sldMk cId="3592637296" sldId="287"/>
            <ac:spMk id="9" creationId="{1FF7709C-AAFE-436B-B12C-26E25FFF3EAC}"/>
          </ac:spMkLst>
        </pc:spChg>
        <pc:picChg chg="add del mod">
          <ac:chgData name="Philipp Theile | EWI" userId="389f5144-a239-4438-b72c-100d5483c819" providerId="ADAL" clId="{F09E99D6-B178-4DB3-AECB-60DA0AEF7478}" dt="2021-04-26T07:02:56.875" v="12223" actId="478"/>
          <ac:picMkLst>
            <pc:docMk/>
            <pc:sldMk cId="3592637296" sldId="287"/>
            <ac:picMk id="6" creationId="{FD281C64-7E38-4CFF-BCAA-AAC352EB3E13}"/>
          </ac:picMkLst>
        </pc:picChg>
        <pc:picChg chg="add del mod">
          <ac:chgData name="Philipp Theile | EWI" userId="389f5144-a239-4438-b72c-100d5483c819" providerId="ADAL" clId="{F09E99D6-B178-4DB3-AECB-60DA0AEF7478}" dt="2021-04-26T07:04:35.713" v="12235" actId="478"/>
          <ac:picMkLst>
            <pc:docMk/>
            <pc:sldMk cId="3592637296" sldId="287"/>
            <ac:picMk id="7" creationId="{CB5DEF0C-653D-45EB-9362-23E42417D39D}"/>
          </ac:picMkLst>
        </pc:picChg>
        <pc:picChg chg="add mod">
          <ac:chgData name="Philipp Theile | EWI" userId="389f5144-a239-4438-b72c-100d5483c819" providerId="ADAL" clId="{F09E99D6-B178-4DB3-AECB-60DA0AEF7478}" dt="2021-04-26T07:04:54.447" v="12274" actId="14100"/>
          <ac:picMkLst>
            <pc:docMk/>
            <pc:sldMk cId="3592637296" sldId="287"/>
            <ac:picMk id="11" creationId="{33E8A5FB-7D74-41D5-99A1-21EE5A860451}"/>
          </ac:picMkLst>
        </pc:picChg>
      </pc:sldChg>
      <pc:sldChg chg="addSp delSp modSp mod">
        <pc:chgData name="Philipp Theile | EWI" userId="389f5144-a239-4438-b72c-100d5483c819" providerId="ADAL" clId="{F09E99D6-B178-4DB3-AECB-60DA0AEF7478}" dt="2021-04-28T08:00:56.533" v="13174" actId="20577"/>
        <pc:sldMkLst>
          <pc:docMk/>
          <pc:sldMk cId="2952312592" sldId="292"/>
        </pc:sldMkLst>
        <pc:spChg chg="del">
          <ac:chgData name="Philipp Theile | EWI" userId="389f5144-a239-4438-b72c-100d5483c819" providerId="ADAL" clId="{F09E99D6-B178-4DB3-AECB-60DA0AEF7478}" dt="2021-04-28T07:26:22.587" v="13134" actId="478"/>
          <ac:spMkLst>
            <pc:docMk/>
            <pc:sldMk cId="2952312592" sldId="292"/>
            <ac:spMk id="4" creationId="{9F1A73E7-22D5-4A3E-ACE0-155DB000BD4E}"/>
          </ac:spMkLst>
        </pc:spChg>
        <pc:spChg chg="mod">
          <ac:chgData name="Philipp Theile | EWI" userId="389f5144-a239-4438-b72c-100d5483c819" providerId="ADAL" clId="{F09E99D6-B178-4DB3-AECB-60DA0AEF7478}" dt="2021-04-28T08:00:56.533" v="13174" actId="20577"/>
          <ac:spMkLst>
            <pc:docMk/>
            <pc:sldMk cId="2952312592" sldId="292"/>
            <ac:spMk id="10" creationId="{DCEC1229-81E5-4934-AC35-7B66FB90AEF1}"/>
          </ac:spMkLst>
        </pc:spChg>
        <pc:spChg chg="add del mod">
          <ac:chgData name="Philipp Theile | EWI" userId="389f5144-a239-4438-b72c-100d5483c819" providerId="ADAL" clId="{F09E99D6-B178-4DB3-AECB-60DA0AEF7478}" dt="2021-04-28T07:26:24.512" v="13135" actId="478"/>
          <ac:spMkLst>
            <pc:docMk/>
            <pc:sldMk cId="2952312592" sldId="292"/>
            <ac:spMk id="16" creationId="{B27F04B9-A060-49B6-A328-98F83E531738}"/>
          </ac:spMkLst>
        </pc:spChg>
        <pc:spChg chg="add del mod">
          <ac:chgData name="Philipp Theile | EWI" userId="389f5144-a239-4438-b72c-100d5483c819" providerId="ADAL" clId="{F09E99D6-B178-4DB3-AECB-60DA0AEF7478}" dt="2021-04-28T07:47:48.574" v="13139"/>
          <ac:spMkLst>
            <pc:docMk/>
            <pc:sldMk cId="2952312592" sldId="292"/>
            <ac:spMk id="20" creationId="{CEAF70F3-ABCC-47C6-94D6-B6B2AA2766A9}"/>
          </ac:spMkLst>
        </pc:spChg>
        <pc:picChg chg="add del mod">
          <ac:chgData name="Philipp Theile | EWI" userId="389f5144-a239-4438-b72c-100d5483c819" providerId="ADAL" clId="{F09E99D6-B178-4DB3-AECB-60DA0AEF7478}" dt="2021-04-28T07:25:50.999" v="13124" actId="478"/>
          <ac:picMkLst>
            <pc:docMk/>
            <pc:sldMk cId="2952312592" sldId="292"/>
            <ac:picMk id="5" creationId="{0605107B-D10E-4D83-9641-24F60C24BBDC}"/>
          </ac:picMkLst>
        </pc:picChg>
        <pc:picChg chg="del">
          <ac:chgData name="Philipp Theile | EWI" userId="389f5144-a239-4438-b72c-100d5483c819" providerId="ADAL" clId="{F09E99D6-B178-4DB3-AECB-60DA0AEF7478}" dt="2021-04-28T07:47:42.542" v="13138" actId="478"/>
          <ac:picMkLst>
            <pc:docMk/>
            <pc:sldMk cId="2952312592" sldId="292"/>
            <ac:picMk id="6" creationId="{0F5EFD61-273D-4751-9F7A-359F329B5AEE}"/>
          </ac:picMkLst>
        </pc:picChg>
        <pc:picChg chg="add del mod">
          <ac:chgData name="Philipp Theile | EWI" userId="389f5144-a239-4438-b72c-100d5483c819" providerId="ADAL" clId="{F09E99D6-B178-4DB3-AECB-60DA0AEF7478}" dt="2021-04-28T07:25:59.727" v="13128" actId="478"/>
          <ac:picMkLst>
            <pc:docMk/>
            <pc:sldMk cId="2952312592" sldId="292"/>
            <ac:picMk id="11" creationId="{04DD2CA7-7CDE-4871-BE4F-B78397F555FE}"/>
          </ac:picMkLst>
        </pc:picChg>
        <pc:picChg chg="del">
          <ac:chgData name="Philipp Theile | EWI" userId="389f5144-a239-4438-b72c-100d5483c819" providerId="ADAL" clId="{F09E99D6-B178-4DB3-AECB-60DA0AEF7478}" dt="2021-04-27T16:25:36.451" v="13077" actId="478"/>
          <ac:picMkLst>
            <pc:docMk/>
            <pc:sldMk cId="2952312592" sldId="292"/>
            <ac:picMk id="11" creationId="{0828D1D7-6EDD-4281-B5DA-B63A7B16612B}"/>
          </ac:picMkLst>
        </pc:picChg>
        <pc:picChg chg="add del mod">
          <ac:chgData name="Philipp Theile | EWI" userId="389f5144-a239-4438-b72c-100d5483c819" providerId="ADAL" clId="{F09E99D6-B178-4DB3-AECB-60DA0AEF7478}" dt="2021-04-28T07:58:05.018" v="13169" actId="478"/>
          <ac:picMkLst>
            <pc:docMk/>
            <pc:sldMk cId="2952312592" sldId="292"/>
            <ac:picMk id="14" creationId="{43C579E6-D9B5-49AB-8E64-E16D3E0F77CD}"/>
          </ac:picMkLst>
        </pc:picChg>
        <pc:picChg chg="add del mod">
          <ac:chgData name="Philipp Theile | EWI" userId="389f5144-a239-4438-b72c-100d5483c819" providerId="ADAL" clId="{F09E99D6-B178-4DB3-AECB-60DA0AEF7478}" dt="2021-04-28T07:47:41.448" v="13137" actId="478"/>
          <ac:picMkLst>
            <pc:docMk/>
            <pc:sldMk cId="2952312592" sldId="292"/>
            <ac:picMk id="18" creationId="{D7C2F409-0B1C-4F7C-8206-213F7BEF626D}"/>
          </ac:picMkLst>
        </pc:picChg>
        <pc:picChg chg="add mod">
          <ac:chgData name="Philipp Theile | EWI" userId="389f5144-a239-4438-b72c-100d5483c819" providerId="ADAL" clId="{F09E99D6-B178-4DB3-AECB-60DA0AEF7478}" dt="2021-04-28T07:48:03.378" v="13145" actId="1076"/>
          <ac:picMkLst>
            <pc:docMk/>
            <pc:sldMk cId="2952312592" sldId="292"/>
            <ac:picMk id="22" creationId="{7633C1BA-EFEF-4A9F-BD2F-DEEC1328CC24}"/>
          </ac:picMkLst>
        </pc:picChg>
        <pc:picChg chg="add mod">
          <ac:chgData name="Philipp Theile | EWI" userId="389f5144-a239-4438-b72c-100d5483c819" providerId="ADAL" clId="{F09E99D6-B178-4DB3-AECB-60DA0AEF7478}" dt="2021-04-28T07:58:13.107" v="13173" actId="1076"/>
          <ac:picMkLst>
            <pc:docMk/>
            <pc:sldMk cId="2952312592" sldId="292"/>
            <ac:picMk id="24" creationId="{65947ECF-108D-41A8-9FD4-AF974B667F74}"/>
          </ac:picMkLst>
        </pc:picChg>
      </pc:sldChg>
      <pc:sldChg chg="addSp delSp modSp new mod">
        <pc:chgData name="Philipp Theile | EWI" userId="389f5144-a239-4438-b72c-100d5483c819" providerId="ADAL" clId="{F09E99D6-B178-4DB3-AECB-60DA0AEF7478}" dt="2021-04-28T08:20:03.474" v="13184" actId="1036"/>
        <pc:sldMkLst>
          <pc:docMk/>
          <pc:sldMk cId="3430541151" sldId="295"/>
        </pc:sldMkLst>
        <pc:spChg chg="mod">
          <ac:chgData name="Philipp Theile | EWI" userId="389f5144-a239-4438-b72c-100d5483c819" providerId="ADAL" clId="{F09E99D6-B178-4DB3-AECB-60DA0AEF7478}" dt="2021-04-28T07:56:00.618" v="13167" actId="20577"/>
          <ac:spMkLst>
            <pc:docMk/>
            <pc:sldMk cId="3430541151" sldId="295"/>
            <ac:spMk id="2" creationId="{2B9BC488-B84E-4AE2-B3F1-D2126AD7A99B}"/>
          </ac:spMkLst>
        </pc:spChg>
        <pc:spChg chg="del">
          <ac:chgData name="Philipp Theile | EWI" userId="389f5144-a239-4438-b72c-100d5483c819" providerId="ADAL" clId="{F09E99D6-B178-4DB3-AECB-60DA0AEF7478}" dt="2021-04-28T07:55:44.785" v="13147" actId="478"/>
          <ac:spMkLst>
            <pc:docMk/>
            <pc:sldMk cId="3430541151" sldId="295"/>
            <ac:spMk id="3" creationId="{9DE2D458-2A97-4E7C-BBE5-CD9F4CE2A454}"/>
          </ac:spMkLst>
        </pc:spChg>
        <pc:spChg chg="del">
          <ac:chgData name="Philipp Theile | EWI" userId="389f5144-a239-4438-b72c-100d5483c819" providerId="ADAL" clId="{F09E99D6-B178-4DB3-AECB-60DA0AEF7478}" dt="2021-04-28T07:55:45.978" v="13148" actId="478"/>
          <ac:spMkLst>
            <pc:docMk/>
            <pc:sldMk cId="3430541151" sldId="295"/>
            <ac:spMk id="4" creationId="{121B4378-E123-485F-BB52-F815FEE0511F}"/>
          </ac:spMkLst>
        </pc:spChg>
        <pc:picChg chg="add mod">
          <ac:chgData name="Philipp Theile | EWI" userId="389f5144-a239-4438-b72c-100d5483c819" providerId="ADAL" clId="{F09E99D6-B178-4DB3-AECB-60DA0AEF7478}" dt="2021-04-28T08:20:03.474" v="13184" actId="1036"/>
          <ac:picMkLst>
            <pc:docMk/>
            <pc:sldMk cId="3430541151" sldId="295"/>
            <ac:picMk id="6" creationId="{6600657B-ECF7-4D81-A8F1-6BFAB99A99A5}"/>
          </ac:picMkLst>
        </pc:picChg>
      </pc:sldChg>
      <pc:sldChg chg="addSp delSp modSp new mod">
        <pc:chgData name="Philipp Theile | EWI" userId="389f5144-a239-4438-b72c-100d5483c819" providerId="ADAL" clId="{F09E99D6-B178-4DB3-AECB-60DA0AEF7478}" dt="2021-04-29T07:03:47.370" v="18518" actId="20577"/>
        <pc:sldMkLst>
          <pc:docMk/>
          <pc:sldMk cId="2062043571" sldId="296"/>
        </pc:sldMkLst>
        <pc:spChg chg="mod">
          <ac:chgData name="Philipp Theile | EWI" userId="389f5144-a239-4438-b72c-100d5483c819" providerId="ADAL" clId="{F09E99D6-B178-4DB3-AECB-60DA0AEF7478}" dt="2021-04-29T07:03:47.370" v="18518" actId="20577"/>
          <ac:spMkLst>
            <pc:docMk/>
            <pc:sldMk cId="2062043571" sldId="296"/>
            <ac:spMk id="2" creationId="{BE0626E9-5DDB-4719-A42B-963D67CD8771}"/>
          </ac:spMkLst>
        </pc:spChg>
        <pc:spChg chg="del">
          <ac:chgData name="Philipp Theile | EWI" userId="389f5144-a239-4438-b72c-100d5483c819" providerId="ADAL" clId="{F09E99D6-B178-4DB3-AECB-60DA0AEF7478}" dt="2021-04-28T08:14:03.012" v="13176"/>
          <ac:spMkLst>
            <pc:docMk/>
            <pc:sldMk cId="2062043571" sldId="296"/>
            <ac:spMk id="3" creationId="{3F73B7FC-2623-4C3C-B9C2-3615CE734F42}"/>
          </ac:spMkLst>
        </pc:spChg>
        <pc:spChg chg="del">
          <ac:chgData name="Philipp Theile | EWI" userId="389f5144-a239-4438-b72c-100d5483c819" providerId="ADAL" clId="{F09E99D6-B178-4DB3-AECB-60DA0AEF7478}" dt="2021-04-28T08:14:05.570" v="13177"/>
          <ac:spMkLst>
            <pc:docMk/>
            <pc:sldMk cId="2062043571" sldId="296"/>
            <ac:spMk id="4" creationId="{A64E7298-5108-466E-AD29-3B896F761121}"/>
          </ac:spMkLst>
        </pc:spChg>
        <pc:spChg chg="add del mod">
          <ac:chgData name="Philipp Theile | EWI" userId="389f5144-a239-4438-b72c-100d5483c819" providerId="ADAL" clId="{F09E99D6-B178-4DB3-AECB-60DA0AEF7478}" dt="2021-04-28T08:14:44.373" v="13179"/>
          <ac:spMkLst>
            <pc:docMk/>
            <pc:sldMk cId="2062043571" sldId="296"/>
            <ac:spMk id="10" creationId="{52A309A1-A98D-4A3E-B859-8DA2CD5616EC}"/>
          </ac:spMkLst>
        </pc:spChg>
        <pc:spChg chg="add del mod">
          <ac:chgData name="Philipp Theile | EWI" userId="389f5144-a239-4438-b72c-100d5483c819" providerId="ADAL" clId="{F09E99D6-B178-4DB3-AECB-60DA0AEF7478}" dt="2021-04-28T08:15:05.960" v="13183"/>
          <ac:spMkLst>
            <pc:docMk/>
            <pc:sldMk cId="2062043571" sldId="296"/>
            <ac:spMk id="14" creationId="{85107671-11CE-497F-B448-FD76B4C72C5D}"/>
          </ac:spMkLst>
        </pc:spChg>
        <pc:picChg chg="add mod">
          <ac:chgData name="Philipp Theile | EWI" userId="389f5144-a239-4438-b72c-100d5483c819" providerId="ADAL" clId="{F09E99D6-B178-4DB3-AECB-60DA0AEF7478}" dt="2021-04-28T08:14:03.012" v="13176"/>
          <ac:picMkLst>
            <pc:docMk/>
            <pc:sldMk cId="2062043571" sldId="296"/>
            <ac:picMk id="6" creationId="{B37E3E86-70C0-4563-B420-F207C6D442E8}"/>
          </ac:picMkLst>
        </pc:picChg>
        <pc:picChg chg="add del mod">
          <ac:chgData name="Philipp Theile | EWI" userId="389f5144-a239-4438-b72c-100d5483c819" providerId="ADAL" clId="{F09E99D6-B178-4DB3-AECB-60DA0AEF7478}" dt="2021-04-28T08:14:42.923" v="13178" actId="478"/>
          <ac:picMkLst>
            <pc:docMk/>
            <pc:sldMk cId="2062043571" sldId="296"/>
            <ac:picMk id="8" creationId="{68B81813-4AA9-4BC3-AA34-29D3EFA8A8A8}"/>
          </ac:picMkLst>
        </pc:picChg>
        <pc:picChg chg="add del mod">
          <ac:chgData name="Philipp Theile | EWI" userId="389f5144-a239-4438-b72c-100d5483c819" providerId="ADAL" clId="{F09E99D6-B178-4DB3-AECB-60DA0AEF7478}" dt="2021-04-28T08:14:48.086" v="13182" actId="478"/>
          <ac:picMkLst>
            <pc:docMk/>
            <pc:sldMk cId="2062043571" sldId="296"/>
            <ac:picMk id="12" creationId="{39B15AA6-2789-4E81-B713-517AACCB0F6B}"/>
          </ac:picMkLst>
        </pc:picChg>
        <pc:picChg chg="add mod">
          <ac:chgData name="Philipp Theile | EWI" userId="389f5144-a239-4438-b72c-100d5483c819" providerId="ADAL" clId="{F09E99D6-B178-4DB3-AECB-60DA0AEF7478}" dt="2021-04-28T08:15:05.960" v="13183"/>
          <ac:picMkLst>
            <pc:docMk/>
            <pc:sldMk cId="2062043571" sldId="296"/>
            <ac:picMk id="16" creationId="{EE2D53A1-22A2-486F-9B39-3D225A870E47}"/>
          </ac:picMkLst>
        </pc:picChg>
      </pc:sldChg>
      <pc:sldChg chg="delSp modSp new mod">
        <pc:chgData name="Philipp Theile | EWI" userId="389f5144-a239-4438-b72c-100d5483c819" providerId="ADAL" clId="{F09E99D6-B178-4DB3-AECB-60DA0AEF7478}" dt="2021-04-28T14:16:49.879" v="17998" actId="20577"/>
        <pc:sldMkLst>
          <pc:docMk/>
          <pc:sldMk cId="2679268901" sldId="297"/>
        </pc:sldMkLst>
        <pc:spChg chg="mod">
          <ac:chgData name="Philipp Theile | EWI" userId="389f5144-a239-4438-b72c-100d5483c819" providerId="ADAL" clId="{F09E99D6-B178-4DB3-AECB-60DA0AEF7478}" dt="2021-04-28T09:39:54.728" v="13591" actId="20577"/>
          <ac:spMkLst>
            <pc:docMk/>
            <pc:sldMk cId="2679268901" sldId="297"/>
            <ac:spMk id="2" creationId="{682551C6-E2A5-4093-ABC5-2A279FFBE02B}"/>
          </ac:spMkLst>
        </pc:spChg>
        <pc:spChg chg="mod">
          <ac:chgData name="Philipp Theile | EWI" userId="389f5144-a239-4438-b72c-100d5483c819" providerId="ADAL" clId="{F09E99D6-B178-4DB3-AECB-60DA0AEF7478}" dt="2021-04-28T14:16:49.879" v="17998" actId="20577"/>
          <ac:spMkLst>
            <pc:docMk/>
            <pc:sldMk cId="2679268901" sldId="297"/>
            <ac:spMk id="3" creationId="{88B41C6A-604C-4E71-B0C5-3635287E4839}"/>
          </ac:spMkLst>
        </pc:spChg>
        <pc:spChg chg="del">
          <ac:chgData name="Philipp Theile | EWI" userId="389f5144-a239-4438-b72c-100d5483c819" providerId="ADAL" clId="{F09E99D6-B178-4DB3-AECB-60DA0AEF7478}" dt="2021-04-28T09:35:34.048" v="13190" actId="478"/>
          <ac:spMkLst>
            <pc:docMk/>
            <pc:sldMk cId="2679268901" sldId="297"/>
            <ac:spMk id="4" creationId="{3A5C0629-C953-4296-9A88-EF767C6AD45C}"/>
          </ac:spMkLst>
        </pc:spChg>
      </pc:sldChg>
      <pc:sldChg chg="modSp add mod ord">
        <pc:chgData name="Philipp Theile | EWI" userId="389f5144-a239-4438-b72c-100d5483c819" providerId="ADAL" clId="{F09E99D6-B178-4DB3-AECB-60DA0AEF7478}" dt="2021-04-29T08:18:13.888" v="19590" actId="20577"/>
        <pc:sldMkLst>
          <pc:docMk/>
          <pc:sldMk cId="968799664" sldId="298"/>
        </pc:sldMkLst>
        <pc:spChg chg="mod">
          <ac:chgData name="Philipp Theile | EWI" userId="389f5144-a239-4438-b72c-100d5483c819" providerId="ADAL" clId="{F09E99D6-B178-4DB3-AECB-60DA0AEF7478}" dt="2021-04-29T08:18:13.888" v="19590" actId="20577"/>
          <ac:spMkLst>
            <pc:docMk/>
            <pc:sldMk cId="968799664" sldId="298"/>
            <ac:spMk id="3" creationId="{88B41C6A-604C-4E71-B0C5-3635287E4839}"/>
          </ac:spMkLst>
        </pc:spChg>
      </pc:sldChg>
      <pc:sldChg chg="delSp modSp new mod">
        <pc:chgData name="Philipp Theile | EWI" userId="389f5144-a239-4438-b72c-100d5483c819" providerId="ADAL" clId="{F09E99D6-B178-4DB3-AECB-60DA0AEF7478}" dt="2021-04-29T07:19:27.319" v="18703" actId="20577"/>
        <pc:sldMkLst>
          <pc:docMk/>
          <pc:sldMk cId="2985897059" sldId="300"/>
        </pc:sldMkLst>
        <pc:spChg chg="mod">
          <ac:chgData name="Philipp Theile | EWI" userId="389f5144-a239-4438-b72c-100d5483c819" providerId="ADAL" clId="{F09E99D6-B178-4DB3-AECB-60DA0AEF7478}" dt="2021-04-29T07:11:01.818" v="18625" actId="20577"/>
          <ac:spMkLst>
            <pc:docMk/>
            <pc:sldMk cId="2985897059" sldId="300"/>
            <ac:spMk id="2" creationId="{E99B55DE-0F11-47BA-BFF2-515BD50ED596}"/>
          </ac:spMkLst>
        </pc:spChg>
        <pc:spChg chg="mod">
          <ac:chgData name="Philipp Theile | EWI" userId="389f5144-a239-4438-b72c-100d5483c819" providerId="ADAL" clId="{F09E99D6-B178-4DB3-AECB-60DA0AEF7478}" dt="2021-04-29T07:19:27.319" v="18703" actId="20577"/>
          <ac:spMkLst>
            <pc:docMk/>
            <pc:sldMk cId="2985897059" sldId="300"/>
            <ac:spMk id="3" creationId="{50593935-54CD-4256-B4C4-CD10D621575D}"/>
          </ac:spMkLst>
        </pc:spChg>
        <pc:spChg chg="del">
          <ac:chgData name="Philipp Theile | EWI" userId="389f5144-a239-4438-b72c-100d5483c819" providerId="ADAL" clId="{F09E99D6-B178-4DB3-AECB-60DA0AEF7478}" dt="2021-04-29T07:07:16.846" v="18523" actId="478"/>
          <ac:spMkLst>
            <pc:docMk/>
            <pc:sldMk cId="2985897059" sldId="300"/>
            <ac:spMk id="4" creationId="{76C5943B-AE45-4206-AC0B-DE6E4AFFDA26}"/>
          </ac:spMkLst>
        </pc:spChg>
      </pc:sldChg>
      <pc:sldChg chg="new del">
        <pc:chgData name="Philipp Theile | EWI" userId="389f5144-a239-4438-b72c-100d5483c819" providerId="ADAL" clId="{F09E99D6-B178-4DB3-AECB-60DA0AEF7478}" dt="2021-04-29T07:11:19.206" v="18628" actId="47"/>
        <pc:sldMkLst>
          <pc:docMk/>
          <pc:sldMk cId="3802296585" sldId="301"/>
        </pc:sldMkLst>
      </pc:sldChg>
      <pc:sldChg chg="modSp add mod">
        <pc:chgData name="Philipp Theile | EWI" userId="389f5144-a239-4438-b72c-100d5483c819" providerId="ADAL" clId="{F09E99D6-B178-4DB3-AECB-60DA0AEF7478}" dt="2021-04-29T07:19:18.350" v="18702" actId="20577"/>
        <pc:sldMkLst>
          <pc:docMk/>
          <pc:sldMk cId="1344801501" sldId="302"/>
        </pc:sldMkLst>
        <pc:spChg chg="mod">
          <ac:chgData name="Philipp Theile | EWI" userId="389f5144-a239-4438-b72c-100d5483c819" providerId="ADAL" clId="{F09E99D6-B178-4DB3-AECB-60DA0AEF7478}" dt="2021-04-29T07:19:18.350" v="18702" actId="20577"/>
          <ac:spMkLst>
            <pc:docMk/>
            <pc:sldMk cId="1344801501" sldId="302"/>
            <ac:spMk id="2" creationId="{E99B55DE-0F11-47BA-BFF2-515BD50ED596}"/>
          </ac:spMkLst>
        </pc:spChg>
        <pc:spChg chg="mod">
          <ac:chgData name="Philipp Theile | EWI" userId="389f5144-a239-4438-b72c-100d5483c819" providerId="ADAL" clId="{F09E99D6-B178-4DB3-AECB-60DA0AEF7478}" dt="2021-04-29T07:14:00.930" v="18699" actId="20577"/>
          <ac:spMkLst>
            <pc:docMk/>
            <pc:sldMk cId="1344801501" sldId="302"/>
            <ac:spMk id="3" creationId="{50593935-54CD-4256-B4C4-CD10D621575D}"/>
          </ac:spMkLst>
        </pc:spChg>
      </pc:sldChg>
      <pc:sldChg chg="new del">
        <pc:chgData name="Philipp Theile | EWI" userId="389f5144-a239-4438-b72c-100d5483c819" providerId="ADAL" clId="{F09E99D6-B178-4DB3-AECB-60DA0AEF7478}" dt="2021-04-29T07:26:52.075" v="18706" actId="47"/>
        <pc:sldMkLst>
          <pc:docMk/>
          <pc:sldMk cId="1673916906" sldId="304"/>
        </pc:sldMkLst>
      </pc:sldChg>
      <pc:sldChg chg="modSp add mod">
        <pc:chgData name="Philipp Theile | EWI" userId="389f5144-a239-4438-b72c-100d5483c819" providerId="ADAL" clId="{F09E99D6-B178-4DB3-AECB-60DA0AEF7478}" dt="2021-04-29T07:36:55.485" v="19515" actId="115"/>
        <pc:sldMkLst>
          <pc:docMk/>
          <pc:sldMk cId="3642555061" sldId="305"/>
        </pc:sldMkLst>
        <pc:spChg chg="mod">
          <ac:chgData name="Philipp Theile | EWI" userId="389f5144-a239-4438-b72c-100d5483c819" providerId="ADAL" clId="{F09E99D6-B178-4DB3-AECB-60DA0AEF7478}" dt="2021-04-29T07:36:55.485" v="19515" actId="115"/>
          <ac:spMkLst>
            <pc:docMk/>
            <pc:sldMk cId="3642555061" sldId="305"/>
            <ac:spMk id="3" creationId="{88B41C6A-604C-4E71-B0C5-3635287E4839}"/>
          </ac:spMkLst>
        </pc:spChg>
      </pc:sldChg>
      <pc:sldChg chg="new del">
        <pc:chgData name="Philipp Theile | EWI" userId="389f5144-a239-4438-b72c-100d5483c819" providerId="ADAL" clId="{F09E99D6-B178-4DB3-AECB-60DA0AEF7478}" dt="2021-04-29T07:39:32.082" v="19517" actId="47"/>
        <pc:sldMkLst>
          <pc:docMk/>
          <pc:sldMk cId="676461877" sldId="306"/>
        </pc:sldMkLst>
      </pc:sldChg>
    </pc:docChg>
  </pc:docChgLst>
  <pc:docChgLst>
    <pc:chgData name="David Schlund | EWI" userId="S::david.schlund@ewi.uni-koeln.de::00272c2a-d16f-4eb8-86ba-c28bcace438c" providerId="AD" clId="Web-{18478E8E-7582-0AA1-A395-4257EA270D1C}"/>
    <pc:docChg chg="addSld modSld modSection">
      <pc:chgData name="David Schlund | EWI" userId="S::david.schlund@ewi.uni-koeln.de::00272c2a-d16f-4eb8-86ba-c28bcace438c" providerId="AD" clId="Web-{18478E8E-7582-0AA1-A395-4257EA270D1C}" dt="2021-04-20T16:38:53.379" v="1294" actId="20577"/>
      <pc:docMkLst>
        <pc:docMk/>
      </pc:docMkLst>
      <pc:sldChg chg="addSp modSp">
        <pc:chgData name="David Schlund | EWI" userId="S::david.schlund@ewi.uni-koeln.de::00272c2a-d16f-4eb8-86ba-c28bcace438c" providerId="AD" clId="Web-{18478E8E-7582-0AA1-A395-4257EA270D1C}" dt="2021-04-20T16:38:53.379" v="1294" actId="20577"/>
        <pc:sldMkLst>
          <pc:docMk/>
          <pc:sldMk cId="2423556196" sldId="260"/>
        </pc:sldMkLst>
        <pc:spChg chg="mod">
          <ac:chgData name="David Schlund | EWI" userId="S::david.schlund@ewi.uni-koeln.de::00272c2a-d16f-4eb8-86ba-c28bcace438c" providerId="AD" clId="Web-{18478E8E-7582-0AA1-A395-4257EA270D1C}" dt="2021-04-20T16:38:11.566" v="1244" actId="1076"/>
          <ac:spMkLst>
            <pc:docMk/>
            <pc:sldMk cId="2423556196" sldId="260"/>
            <ac:spMk id="3" creationId="{00000000-0000-0000-0000-000000000000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6:35:17.018" v="1176"/>
          <ac:spMkLst>
            <pc:docMk/>
            <pc:sldMk cId="2423556196" sldId="260"/>
            <ac:spMk id="4" creationId="{54D1BCFC-C60B-4F7C-8284-05CED1844E4E}"/>
          </ac:spMkLst>
        </pc:spChg>
        <pc:spChg chg="mod">
          <ac:chgData name="David Schlund | EWI" userId="S::david.schlund@ewi.uni-koeln.de::00272c2a-d16f-4eb8-86ba-c28bcace438c" providerId="AD" clId="Web-{18478E8E-7582-0AA1-A395-4257EA270D1C}" dt="2021-04-20T16:38:53.379" v="1294" actId="20577"/>
          <ac:spMkLst>
            <pc:docMk/>
            <pc:sldMk cId="2423556196" sldId="260"/>
            <ac:spMk id="5" creationId="{018F392C-ABE4-41CF-A2C4-AF98A81F2B9B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6:35:07.596" v="1171"/>
          <ac:spMkLst>
            <pc:docMk/>
            <pc:sldMk cId="2423556196" sldId="260"/>
            <ac:spMk id="6" creationId="{6F7D22F8-0604-414E-92B4-4096981DA794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6:35:26.877" v="1180"/>
          <ac:spMkLst>
            <pc:docMk/>
            <pc:sldMk cId="2423556196" sldId="260"/>
            <ac:spMk id="7" creationId="{9C4C776D-D45B-4F44-8186-1EA31E3F288D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6:36:41.487" v="1201" actId="1076"/>
          <ac:spMkLst>
            <pc:docMk/>
            <pc:sldMk cId="2423556196" sldId="260"/>
            <ac:spMk id="8" creationId="{2E662CB9-7632-49DE-A413-88CFF9547CF7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6:37:33.878" v="1218" actId="1076"/>
          <ac:spMkLst>
            <pc:docMk/>
            <pc:sldMk cId="2423556196" sldId="260"/>
            <ac:spMk id="9" creationId="{16FDFACD-23E9-458D-8486-0B4F0F277EAA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6:38:03.003" v="1240" actId="1076"/>
          <ac:spMkLst>
            <pc:docMk/>
            <pc:sldMk cId="2423556196" sldId="260"/>
            <ac:spMk id="10" creationId="{D5C81A7A-495B-45C4-BDB5-8E2C43DEA87E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6:38:07.660" v="1243" actId="20577"/>
          <ac:spMkLst>
            <pc:docMk/>
            <pc:sldMk cId="2423556196" sldId="260"/>
            <ac:spMk id="11" creationId="{A048582B-29E6-4827-A5FD-174175DC858C}"/>
          </ac:spMkLst>
        </pc:spChg>
      </pc:sldChg>
      <pc:sldChg chg="addSp delSp modSp mod modClrScheme chgLayout">
        <pc:chgData name="David Schlund | EWI" userId="S::david.schlund@ewi.uni-koeln.de::00272c2a-d16f-4eb8-86ba-c28bcace438c" providerId="AD" clId="Web-{18478E8E-7582-0AA1-A395-4257EA270D1C}" dt="2021-04-20T16:28:52.559" v="1001" actId="1076"/>
        <pc:sldMkLst>
          <pc:docMk/>
          <pc:sldMk cId="1584105889" sldId="274"/>
        </pc:sldMkLst>
        <pc:spChg chg="mod ord">
          <ac:chgData name="David Schlund | EWI" userId="S::david.schlund@ewi.uni-koeln.de::00272c2a-d16f-4eb8-86ba-c28bcace438c" providerId="AD" clId="Web-{18478E8E-7582-0AA1-A395-4257EA270D1C}" dt="2021-04-20T14:12:07.736" v="6"/>
          <ac:spMkLst>
            <pc:docMk/>
            <pc:sldMk cId="1584105889" sldId="274"/>
            <ac:spMk id="2" creationId="{00000000-0000-0000-0000-000000000000}"/>
          </ac:spMkLst>
        </pc:spChg>
        <pc:spChg chg="del mod ord">
          <ac:chgData name="David Schlund | EWI" userId="S::david.schlund@ewi.uni-koeln.de::00272c2a-d16f-4eb8-86ba-c28bcace438c" providerId="AD" clId="Web-{18478E8E-7582-0AA1-A395-4257EA270D1C}" dt="2021-04-20T16:04:12.937" v="965"/>
          <ac:spMkLst>
            <pc:docMk/>
            <pc:sldMk cId="1584105889" sldId="274"/>
            <ac:spMk id="3" creationId="{00000000-0000-0000-0000-000000000000}"/>
          </ac:spMkLst>
        </pc:spChg>
        <pc:spChg chg="add del mod ord">
          <ac:chgData name="David Schlund | EWI" userId="S::david.schlund@ewi.uni-koeln.de::00272c2a-d16f-4eb8-86ba-c28bcace438c" providerId="AD" clId="Web-{18478E8E-7582-0AA1-A395-4257EA270D1C}" dt="2021-04-20T14:12:18.517" v="10" actId="20577"/>
          <ac:spMkLst>
            <pc:docMk/>
            <pc:sldMk cId="1584105889" sldId="274"/>
            <ac:spMk id="4" creationId="{0148489E-07FF-4BBE-AC81-285AC8555FBA}"/>
          </ac:spMkLst>
        </pc:spChg>
        <pc:spChg chg="add del mod">
          <ac:chgData name="David Schlund | EWI" userId="S::david.schlund@ewi.uni-koeln.de::00272c2a-d16f-4eb8-86ba-c28bcace438c" providerId="AD" clId="Web-{18478E8E-7582-0AA1-A395-4257EA270D1C}" dt="2021-04-20T16:22:01.229" v="982"/>
          <ac:spMkLst>
            <pc:docMk/>
            <pc:sldMk cId="1584105889" sldId="274"/>
            <ac:spMk id="10" creationId="{3BFF0759-B5F2-4829-8CFF-00E6AD052674}"/>
          </ac:spMkLst>
        </pc:spChg>
        <pc:picChg chg="add del mod ord">
          <ac:chgData name="David Schlund | EWI" userId="S::david.schlund@ewi.uni-koeln.de::00272c2a-d16f-4eb8-86ba-c28bcace438c" providerId="AD" clId="Web-{18478E8E-7582-0AA1-A395-4257EA270D1C}" dt="2021-04-20T14:12:13.704" v="8"/>
          <ac:picMkLst>
            <pc:docMk/>
            <pc:sldMk cId="1584105889" sldId="274"/>
            <ac:picMk id="5" creationId="{E2339AE5-D168-4258-BE03-1E8CDFAF5FAF}"/>
          </ac:picMkLst>
        </pc:picChg>
        <pc:picChg chg="add del mod ord">
          <ac:chgData name="David Schlund | EWI" userId="S::david.schlund@ewi.uni-koeln.de::00272c2a-d16f-4eb8-86ba-c28bcace438c" providerId="AD" clId="Web-{18478E8E-7582-0AA1-A395-4257EA270D1C}" dt="2021-04-20T16:21:44.135" v="977"/>
          <ac:picMkLst>
            <pc:docMk/>
            <pc:sldMk cId="1584105889" sldId="274"/>
            <ac:picMk id="6" creationId="{CCA9BBC2-FCAC-4099-B4EF-A1B0F18BDFD7}"/>
          </ac:picMkLst>
        </pc:picChg>
        <pc:picChg chg="add del mod">
          <ac:chgData name="David Schlund | EWI" userId="S::david.schlund@ewi.uni-koeln.de::00272c2a-d16f-4eb8-86ba-c28bcace438c" providerId="AD" clId="Web-{18478E8E-7582-0AA1-A395-4257EA270D1C}" dt="2021-04-20T16:21:51.354" v="980"/>
          <ac:picMkLst>
            <pc:docMk/>
            <pc:sldMk cId="1584105889" sldId="274"/>
            <ac:picMk id="7" creationId="{4312A397-768F-4215-BE44-9AE8DD9D26E6}"/>
          </ac:picMkLst>
        </pc:picChg>
        <pc:picChg chg="add del mod">
          <ac:chgData name="David Schlund | EWI" userId="S::david.schlund@ewi.uni-koeln.de::00272c2a-d16f-4eb8-86ba-c28bcace438c" providerId="AD" clId="Web-{18478E8E-7582-0AA1-A395-4257EA270D1C}" dt="2021-04-20T16:21:45.572" v="978"/>
          <ac:picMkLst>
            <pc:docMk/>
            <pc:sldMk cId="1584105889" sldId="274"/>
            <ac:picMk id="8" creationId="{37BDF31F-3CA4-470B-A403-D87826EAE11F}"/>
          </ac:picMkLst>
        </pc:picChg>
        <pc:picChg chg="add mod ord">
          <ac:chgData name="David Schlund | EWI" userId="S::david.schlund@ewi.uni-koeln.de::00272c2a-d16f-4eb8-86ba-c28bcace438c" providerId="AD" clId="Web-{18478E8E-7582-0AA1-A395-4257EA270D1C}" dt="2021-04-20T16:28:49.684" v="1000" actId="14100"/>
          <ac:picMkLst>
            <pc:docMk/>
            <pc:sldMk cId="1584105889" sldId="274"/>
            <ac:picMk id="11" creationId="{355FA847-030A-4547-B9E5-B7E091C24588}"/>
          </ac:picMkLst>
        </pc:picChg>
        <pc:picChg chg="add mod">
          <ac:chgData name="David Schlund | EWI" userId="S::david.schlund@ewi.uni-koeln.de::00272c2a-d16f-4eb8-86ba-c28bcace438c" providerId="AD" clId="Web-{18478E8E-7582-0AA1-A395-4257EA270D1C}" dt="2021-04-20T16:28:52.559" v="1001" actId="1076"/>
          <ac:picMkLst>
            <pc:docMk/>
            <pc:sldMk cId="1584105889" sldId="274"/>
            <ac:picMk id="12" creationId="{CFC442BD-B03E-4E0A-8B80-043EE46F083A}"/>
          </ac:picMkLst>
        </pc:picChg>
      </pc:sldChg>
      <pc:sldChg chg="addSp delSp modSp mod modClrScheme chgLayout">
        <pc:chgData name="David Schlund | EWI" userId="S::david.schlund@ewi.uni-koeln.de::00272c2a-d16f-4eb8-86ba-c28bcace438c" providerId="AD" clId="Web-{18478E8E-7582-0AA1-A395-4257EA270D1C}" dt="2021-04-20T16:03:58.765" v="964" actId="1076"/>
        <pc:sldMkLst>
          <pc:docMk/>
          <pc:sldMk cId="3240953706" sldId="276"/>
        </pc:sldMkLst>
        <pc:spChg chg="mod ord">
          <ac:chgData name="David Schlund | EWI" userId="S::david.schlund@ewi.uni-koeln.de::00272c2a-d16f-4eb8-86ba-c28bcace438c" providerId="AD" clId="Web-{18478E8E-7582-0AA1-A395-4257EA270D1C}" dt="2021-04-20T14:11:21.001" v="0"/>
          <ac:spMkLst>
            <pc:docMk/>
            <pc:sldMk cId="3240953706" sldId="276"/>
            <ac:spMk id="2" creationId="{00000000-0000-0000-0000-000000000000}"/>
          </ac:spMkLst>
        </pc:spChg>
        <pc:spChg chg="add del mod ord">
          <ac:chgData name="David Schlund | EWI" userId="S::david.schlund@ewi.uni-koeln.de::00272c2a-d16f-4eb8-86ba-c28bcace438c" providerId="AD" clId="Web-{18478E8E-7582-0AA1-A395-4257EA270D1C}" dt="2021-04-20T16:02:21.624" v="956"/>
          <ac:spMkLst>
            <pc:docMk/>
            <pc:sldMk cId="3240953706" sldId="276"/>
            <ac:spMk id="3" creationId="{00000000-0000-0000-0000-000000000000}"/>
          </ac:spMkLst>
        </pc:spChg>
        <pc:spChg chg="add mod ord">
          <ac:chgData name="David Schlund | EWI" userId="S::david.schlund@ewi.uni-koeln.de::00272c2a-d16f-4eb8-86ba-c28bcace438c" providerId="AD" clId="Web-{18478E8E-7582-0AA1-A395-4257EA270D1C}" dt="2021-04-20T14:11:30.345" v="3" actId="20577"/>
          <ac:spMkLst>
            <pc:docMk/>
            <pc:sldMk cId="3240953706" sldId="276"/>
            <ac:spMk id="4" creationId="{52BE68E2-5B26-4B92-84E3-B25445D47079}"/>
          </ac:spMkLst>
        </pc:spChg>
        <pc:picChg chg="add del mod ord">
          <ac:chgData name="David Schlund | EWI" userId="S::david.schlund@ewi.uni-koeln.de::00272c2a-d16f-4eb8-86ba-c28bcace438c" providerId="AD" clId="Web-{18478E8E-7582-0AA1-A395-4257EA270D1C}" dt="2021-04-20T14:11:47.564" v="5"/>
          <ac:picMkLst>
            <pc:docMk/>
            <pc:sldMk cId="3240953706" sldId="276"/>
            <ac:picMk id="5" creationId="{E4957CA0-6120-4F3B-9F78-4F4B42E61D1B}"/>
          </ac:picMkLst>
        </pc:picChg>
        <pc:picChg chg="add mod ord">
          <ac:chgData name="David Schlund | EWI" userId="S::david.schlund@ewi.uni-koeln.de::00272c2a-d16f-4eb8-86ba-c28bcace438c" providerId="AD" clId="Web-{18478E8E-7582-0AA1-A395-4257EA270D1C}" dt="2021-04-20T16:03:52.999" v="963" actId="1076"/>
          <ac:picMkLst>
            <pc:docMk/>
            <pc:sldMk cId="3240953706" sldId="276"/>
            <ac:picMk id="6" creationId="{DD59EAB8-6C20-49D1-B767-42BBC2C2396E}"/>
          </ac:picMkLst>
        </pc:picChg>
        <pc:picChg chg="add mod">
          <ac:chgData name="David Schlund | EWI" userId="S::david.schlund@ewi.uni-koeln.de::00272c2a-d16f-4eb8-86ba-c28bcace438c" providerId="AD" clId="Web-{18478E8E-7582-0AA1-A395-4257EA270D1C}" dt="2021-04-20T16:03:58.765" v="964" actId="1076"/>
          <ac:picMkLst>
            <pc:docMk/>
            <pc:sldMk cId="3240953706" sldId="276"/>
            <ac:picMk id="7" creationId="{DA9637BB-77FC-42B7-AFDD-D8BCD3B078B0}"/>
          </ac:picMkLst>
        </pc:picChg>
      </pc:sldChg>
      <pc:sldChg chg="addSp delSp modSp new">
        <pc:chgData name="David Schlund | EWI" userId="S::david.schlund@ewi.uni-koeln.de::00272c2a-d16f-4eb8-86ba-c28bcace438c" providerId="AD" clId="Web-{18478E8E-7582-0AA1-A395-4257EA270D1C}" dt="2021-04-20T14:31:36.774" v="955" actId="1076"/>
        <pc:sldMkLst>
          <pc:docMk/>
          <pc:sldMk cId="1675221896" sldId="281"/>
        </pc:sldMkLst>
        <pc:spChg chg="mod">
          <ac:chgData name="David Schlund | EWI" userId="S::david.schlund@ewi.uni-koeln.de::00272c2a-d16f-4eb8-86ba-c28bcace438c" providerId="AD" clId="Web-{18478E8E-7582-0AA1-A395-4257EA270D1C}" dt="2021-04-20T14:14:37.768" v="35" actId="20577"/>
          <ac:spMkLst>
            <pc:docMk/>
            <pc:sldMk cId="1675221896" sldId="281"/>
            <ac:spMk id="2" creationId="{2212A424-7F69-403D-BCA4-E70958FBDD4F}"/>
          </ac:spMkLst>
        </pc:spChg>
        <pc:spChg chg="del">
          <ac:chgData name="David Schlund | EWI" userId="S::david.schlund@ewi.uni-koeln.de::00272c2a-d16f-4eb8-86ba-c28bcace438c" providerId="AD" clId="Web-{18478E8E-7582-0AA1-A395-4257EA270D1C}" dt="2021-04-20T14:14:49.830" v="36"/>
          <ac:spMkLst>
            <pc:docMk/>
            <pc:sldMk cId="1675221896" sldId="281"/>
            <ac:spMk id="3" creationId="{B1DDE2FC-F188-4048-90B6-1F22AC50B3C0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4:14:22.471" v="17" actId="20577"/>
          <ac:spMkLst>
            <pc:docMk/>
            <pc:sldMk cId="1675221896" sldId="281"/>
            <ac:spMk id="5" creationId="{BBB5502C-C746-423B-8561-C6CFF488E82B}"/>
          </ac:spMkLst>
        </pc:spChg>
        <pc:spChg chg="add mod">
          <ac:chgData name="David Schlund | EWI" userId="S::david.schlund@ewi.uni-koeln.de::00272c2a-d16f-4eb8-86ba-c28bcace438c" providerId="AD" clId="Web-{18478E8E-7582-0AA1-A395-4257EA270D1C}" dt="2021-04-20T14:29:11.539" v="816" actId="1076"/>
          <ac:spMkLst>
            <pc:docMk/>
            <pc:sldMk cId="1675221896" sldId="281"/>
            <ac:spMk id="7" creationId="{5A9626CC-DE28-4680-96A2-4EEEBE921644}"/>
          </ac:spMkLst>
        </pc:spChg>
        <pc:graphicFrameChg chg="add mod ord modGraphic">
          <ac:chgData name="David Schlund | EWI" userId="S::david.schlund@ewi.uni-koeln.de::00272c2a-d16f-4eb8-86ba-c28bcace438c" providerId="AD" clId="Web-{18478E8E-7582-0AA1-A395-4257EA270D1C}" dt="2021-04-20T14:31:36.774" v="955" actId="1076"/>
          <ac:graphicFrameMkLst>
            <pc:docMk/>
            <pc:sldMk cId="1675221896" sldId="281"/>
            <ac:graphicFrameMk id="6" creationId="{B61B61F1-F2EE-4980-9DC3-7059C90299C5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78233F-BF83-4080-BCB5-D0BB0DF74C82}" type="datetimeFigureOut">
              <a:rPr lang="de-DE" smtClean="0"/>
              <a:t>07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61CE9-1763-4CFD-ACF0-019B3A754D7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7388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 Joint </a:t>
            </a:r>
            <a:r>
              <a:rPr lang="de-DE" err="1"/>
              <a:t>work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Philipp and Artem </a:t>
            </a:r>
            <a:r>
              <a:rPr lang="de-DE" err="1"/>
              <a:t>Stopnevich</a:t>
            </a:r>
            <a:r>
              <a:rPr lang="de-DE"/>
              <a:t>, </a:t>
            </a:r>
            <a:r>
              <a:rPr lang="de-DE" err="1"/>
              <a:t>former</a:t>
            </a:r>
            <a:r>
              <a:rPr lang="de-DE"/>
              <a:t> intern at EWI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357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rte normiert auf 1 MW pro Jahr; Wirtschaftlich ab einem Wasserstoffpreis von 4-5; Fluktuierender Strompreis erlaubt dem Elektrolyseur eine Marge bei fixem Wasserstoffpreis</a:t>
            </a:r>
          </a:p>
          <a:p>
            <a:r>
              <a:rPr lang="de-DE" dirty="0"/>
              <a:t>Fixkosten und Annuität: 118.68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Trebuchet MS"/>
              </a:rPr>
              <a:t>Kapitalkosten übersteigen Gewinne aus der kurzfristigen Optimierung um ein Vielfaches</a:t>
            </a:r>
            <a:endParaRPr lang="de-DE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149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Niedrigere Gleichzeitigkeit schließt die Finanzierungslücke, jedoch nicht komplett. Bei den langfristigen Kosten wird der Mengeneffekt deutlich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63049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oppelte Abhängigkeit von EE-Strom und Preis -&gt; Berücksichtigen beim Schließen der Finanzierungslücke; (Anders als bei einer dedizierten Anlag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3296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01837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0341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Allgemeine Vorteile von Wasserstoff bekannt</a:t>
            </a:r>
          </a:p>
          <a:p>
            <a:pPr marL="171450" indent="-171450">
              <a:buFontTx/>
              <a:buChar char="-"/>
            </a:pPr>
            <a:r>
              <a:rPr lang="de-DE" dirty="0"/>
              <a:t>Stellung im Stromsystem beeinflusst Elektrolyseureinsatz durch Stromverfügbarkeit, Strompreise und ggf. Regulatorik</a:t>
            </a:r>
          </a:p>
          <a:p>
            <a:pPr marL="171450" indent="-171450">
              <a:buFontTx/>
              <a:buChar char="-"/>
            </a:pPr>
            <a:r>
              <a:rPr lang="de-DE" dirty="0"/>
              <a:t>Bei Netzgekoppelten Anlagen:</a:t>
            </a:r>
          </a:p>
          <a:p>
            <a:pPr marL="171450" indent="-171450">
              <a:buFontTx/>
              <a:buChar char="-"/>
            </a:pPr>
            <a:r>
              <a:rPr lang="de-DE" dirty="0"/>
              <a:t>Optimierung gegen Strompreis von zentraler Bedeutu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tromherkunft beeinflusst im Sinne der Regulatorik die „</a:t>
            </a:r>
            <a:r>
              <a:rPr lang="de-DE" dirty="0" err="1"/>
              <a:t>Grünstrocharakterstik</a:t>
            </a:r>
            <a:r>
              <a:rPr lang="de-DE" dirty="0"/>
              <a:t>“ und damit die Eigenschaft „grüner H2“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027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Frage lässt sich in aktueller Regulatorik wiederfinden, z.B. RED-II und EEV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Hier nur Betrachtung netzgekoppelter Anla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RED II: </a:t>
            </a:r>
            <a:r>
              <a:rPr lang="de-DE" sz="1200" b="1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Regulierungsziel</a:t>
            </a:r>
            <a:r>
              <a:rPr lang="de-DE" sz="12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: Anrechenbarkeit grünen Wasserstoffs in der Erreichung der EE-Ziele im Verkehrssektor³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EEV: </a:t>
            </a:r>
            <a:r>
              <a:rPr lang="de-DE" sz="1200" b="1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Regulierungsziel</a:t>
            </a:r>
            <a:r>
              <a:rPr lang="de-DE" sz="12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: Befreiung der Erzeugung strombasierten grünen Wasserstoffs von der EEG-Umla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Gleichzeitigkeit = Zeitintervall in dem EE- und H2-Produktion ausgeglichen sein müssen (z.T. auch als „zeitliche Korrelation“ bezeichnet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Beeinflusst stark die Stromverfügbarkeit und in Zusammenwirken mit dem Strompreis somit die Wirtschaftlichkeit des Elektrolyseur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52195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7345" lvl="0" indent="-347345">
              <a:buFont typeface="Symbol" panose="05050102010706020507" pitchFamily="18" charset="2"/>
              <a:buChar char="-"/>
            </a:pPr>
            <a:r>
              <a:rPr lang="en-US" sz="1200" dirty="0" err="1"/>
              <a:t>Wirtschaftlichkeit</a:t>
            </a:r>
            <a:r>
              <a:rPr lang="en-US" sz="1200" dirty="0"/>
              <a:t> von </a:t>
            </a:r>
            <a:r>
              <a:rPr lang="en-US" sz="1200" dirty="0" err="1"/>
              <a:t>PtG</a:t>
            </a:r>
            <a:r>
              <a:rPr lang="en-US" sz="1200" dirty="0"/>
              <a:t>-Anlagen: </a:t>
            </a:r>
            <a:r>
              <a:rPr lang="en-US" sz="1200" dirty="0" err="1"/>
              <a:t>Ökonomische</a:t>
            </a:r>
            <a:r>
              <a:rPr lang="en-US" sz="1200" dirty="0"/>
              <a:t> </a:t>
            </a:r>
            <a:r>
              <a:rPr lang="en-US" sz="1200" dirty="0" err="1"/>
              <a:t>Bewertung</a:t>
            </a:r>
            <a:r>
              <a:rPr lang="en-US" sz="1200" dirty="0"/>
              <a:t> von </a:t>
            </a:r>
            <a:r>
              <a:rPr lang="en-US" sz="1200" dirty="0" err="1"/>
              <a:t>PtG</a:t>
            </a:r>
            <a:r>
              <a:rPr lang="en-US" sz="1200" dirty="0"/>
              <a:t>-Anlagen </a:t>
            </a:r>
            <a:r>
              <a:rPr lang="en-US" sz="1200" dirty="0" err="1"/>
              <a:t>unter</a:t>
            </a:r>
            <a:r>
              <a:rPr lang="en-US" sz="1200" dirty="0"/>
              <a:t> </a:t>
            </a:r>
            <a:r>
              <a:rPr lang="en-US" sz="1200" dirty="0" err="1"/>
              <a:t>unterschiedlichen</a:t>
            </a:r>
            <a:r>
              <a:rPr lang="en-US" sz="1200" dirty="0"/>
              <a:t> </a:t>
            </a:r>
            <a:r>
              <a:rPr lang="en-US" sz="1200" dirty="0" err="1"/>
              <a:t>Bedingungen</a:t>
            </a:r>
            <a:r>
              <a:rPr lang="en-US" sz="1200" dirty="0"/>
              <a:t> (</a:t>
            </a:r>
            <a:r>
              <a:rPr lang="en-US" sz="1200" dirty="0" err="1"/>
              <a:t>z.B.</a:t>
            </a:r>
            <a:r>
              <a:rPr lang="en-US" sz="1200" dirty="0"/>
              <a:t> </a:t>
            </a:r>
            <a:r>
              <a:rPr lang="en-US" sz="1200" dirty="0" err="1"/>
              <a:t>Nachfrager</a:t>
            </a:r>
            <a:r>
              <a:rPr lang="en-US" sz="1200" dirty="0"/>
              <a:t>, </a:t>
            </a:r>
            <a:r>
              <a:rPr lang="en-US" sz="1200" dirty="0" err="1"/>
              <a:t>Flexibilität</a:t>
            </a:r>
            <a:r>
              <a:rPr lang="en-US" sz="1200" dirty="0"/>
              <a:t>, </a:t>
            </a:r>
            <a:r>
              <a:rPr lang="en-US" sz="1200" dirty="0" err="1"/>
              <a:t>Maximierung</a:t>
            </a:r>
            <a:r>
              <a:rPr lang="en-US" sz="1200" dirty="0"/>
              <a:t> der RE-</a:t>
            </a:r>
            <a:r>
              <a:rPr lang="en-US" sz="1200" dirty="0" err="1"/>
              <a:t>Abnahme</a:t>
            </a:r>
            <a:r>
              <a:rPr lang="en-US" sz="1200" dirty="0"/>
              <a:t>) </a:t>
            </a:r>
          </a:p>
          <a:p>
            <a:pPr marL="347345" lvl="0" indent="-347345">
              <a:buFont typeface="Symbol" panose="05050102010706020507" pitchFamily="18" charset="2"/>
              <a:buChar char="-"/>
            </a:pPr>
            <a:r>
              <a:rPr lang="en-US" sz="1200" dirty="0"/>
              <a:t>EE-</a:t>
            </a:r>
            <a:r>
              <a:rPr lang="en-US" sz="1200" dirty="0" err="1"/>
              <a:t>Volatilität</a:t>
            </a:r>
            <a:r>
              <a:rPr lang="en-US" sz="1200" dirty="0"/>
              <a:t> und </a:t>
            </a:r>
            <a:r>
              <a:rPr lang="en-US" sz="1200" dirty="0" err="1"/>
              <a:t>Strommärkte</a:t>
            </a:r>
            <a:r>
              <a:rPr lang="en-US" sz="1200" dirty="0"/>
              <a:t>: </a:t>
            </a:r>
            <a:r>
              <a:rPr lang="en-US" sz="1200" dirty="0" err="1"/>
              <a:t>Ökonometrische</a:t>
            </a:r>
            <a:r>
              <a:rPr lang="en-US" sz="1200" dirty="0"/>
              <a:t> </a:t>
            </a:r>
            <a:r>
              <a:rPr lang="en-US" sz="1200" dirty="0" err="1"/>
              <a:t>Modelle</a:t>
            </a:r>
            <a:r>
              <a:rPr lang="en-US" sz="1200" dirty="0"/>
              <a:t> der </a:t>
            </a:r>
            <a:r>
              <a:rPr lang="en-US" sz="1200" dirty="0" err="1"/>
              <a:t>Preisbildung</a:t>
            </a:r>
            <a:r>
              <a:rPr lang="en-US" sz="1200" dirty="0"/>
              <a:t> auf </a:t>
            </a:r>
            <a:r>
              <a:rPr lang="en-US" sz="1200" dirty="0" err="1"/>
              <a:t>Strommärkten</a:t>
            </a:r>
            <a:r>
              <a:rPr lang="en-US" sz="1200" dirty="0"/>
              <a:t> </a:t>
            </a:r>
            <a:r>
              <a:rPr lang="en-US" sz="1200" dirty="0" err="1"/>
              <a:t>mit</a:t>
            </a:r>
            <a:r>
              <a:rPr lang="en-US" sz="1200" dirty="0"/>
              <a:t> </a:t>
            </a:r>
            <a:r>
              <a:rPr lang="en-US" sz="1200" dirty="0" err="1"/>
              <a:t>hoher</a:t>
            </a:r>
            <a:r>
              <a:rPr lang="en-US" sz="1200" dirty="0"/>
              <a:t> EE-</a:t>
            </a:r>
            <a:r>
              <a:rPr lang="en-US" sz="1200" dirty="0" err="1"/>
              <a:t>Durchdringung</a:t>
            </a:r>
            <a:r>
              <a:rPr lang="en-US" sz="1200" dirty="0"/>
              <a:t> (day-ahead, intraday) </a:t>
            </a:r>
          </a:p>
          <a:p>
            <a:pPr marL="347345" lvl="0" indent="-347345">
              <a:buFont typeface="Symbol" panose="05050102010706020507" pitchFamily="18" charset="2"/>
              <a:buChar char="-"/>
            </a:pPr>
            <a:r>
              <a:rPr lang="en-US" sz="1200" dirty="0" err="1"/>
              <a:t>Einsatzoptimierung</a:t>
            </a:r>
            <a:r>
              <a:rPr lang="en-US" sz="1200" dirty="0"/>
              <a:t>: </a:t>
            </a:r>
            <a:r>
              <a:rPr lang="en-US" sz="1200" dirty="0" err="1"/>
              <a:t>Kosten-optimaler</a:t>
            </a:r>
            <a:r>
              <a:rPr lang="en-US" sz="1200" dirty="0"/>
              <a:t> </a:t>
            </a:r>
            <a:r>
              <a:rPr lang="en-US" sz="1200" dirty="0" err="1"/>
              <a:t>Betrieb</a:t>
            </a:r>
            <a:r>
              <a:rPr lang="en-US" sz="1200" dirty="0"/>
              <a:t> von </a:t>
            </a:r>
            <a:r>
              <a:rPr lang="en-US" sz="1200" dirty="0" err="1"/>
              <a:t>steuerbaren</a:t>
            </a:r>
            <a:r>
              <a:rPr lang="en-US" sz="1200" dirty="0"/>
              <a:t> </a:t>
            </a:r>
            <a:r>
              <a:rPr lang="en-US" sz="1200" dirty="0" err="1"/>
              <a:t>Einheiten</a:t>
            </a:r>
            <a:r>
              <a:rPr lang="en-US" sz="1200" dirty="0"/>
              <a:t> am </a:t>
            </a:r>
            <a:r>
              <a:rPr lang="en-US" sz="1200" dirty="0" err="1"/>
              <a:t>Strommarkt</a:t>
            </a:r>
            <a:r>
              <a:rPr lang="en-US" sz="1200" dirty="0"/>
              <a:t> (e.g., </a:t>
            </a:r>
            <a:r>
              <a:rPr lang="en-US" sz="1200" dirty="0" err="1"/>
              <a:t>konventionelle</a:t>
            </a:r>
            <a:r>
              <a:rPr lang="en-US" sz="1200" dirty="0"/>
              <a:t> </a:t>
            </a:r>
            <a:r>
              <a:rPr lang="en-US" sz="1200" dirty="0" err="1"/>
              <a:t>Kraftwerke</a:t>
            </a:r>
            <a:r>
              <a:rPr lang="en-US" sz="1200" dirty="0"/>
              <a:t>, </a:t>
            </a:r>
            <a:r>
              <a:rPr lang="en-US" sz="1200" dirty="0" err="1"/>
              <a:t>Wasserkraftwerke</a:t>
            </a:r>
            <a:r>
              <a:rPr lang="en-US" sz="1200" dirty="0"/>
              <a:t>, </a:t>
            </a:r>
            <a:r>
              <a:rPr lang="en-US" sz="1200" dirty="0" err="1"/>
              <a:t>Batterien</a:t>
            </a:r>
            <a:r>
              <a:rPr lang="en-US" sz="1200" dirty="0"/>
              <a:t>, </a:t>
            </a:r>
            <a:r>
              <a:rPr lang="en-US" sz="1200" dirty="0" err="1"/>
              <a:t>PtG</a:t>
            </a:r>
            <a:r>
              <a:rPr lang="en-US" sz="1200" dirty="0"/>
              <a:t>)</a:t>
            </a:r>
          </a:p>
          <a:p>
            <a:pPr marL="347345" lvl="0" indent="-347345">
              <a:buFont typeface="Symbol" panose="05050102010706020507" pitchFamily="18" charset="2"/>
              <a:buChar char="-"/>
            </a:pPr>
            <a:r>
              <a:rPr lang="de-DE" dirty="0"/>
              <a:t>Forschungsfrage: Wie stellt sich die Wirtschaftlichkeit netzgekoppelter Elektrolyseure bei Anforderungen an die Gleichzeitigkeit dar?</a:t>
            </a:r>
          </a:p>
          <a:p>
            <a:pPr marL="804545" lvl="1" indent="-347345"/>
            <a:endParaRPr lang="en-US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306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Entwicklung eines techno-ökon. </a:t>
            </a:r>
            <a:r>
              <a:rPr lang="de-DE" dirty="0" err="1"/>
              <a:t>Dispatchmodells</a:t>
            </a:r>
            <a:r>
              <a:rPr lang="de-DE" dirty="0"/>
              <a:t>, das Einsatz des Elektrolyseurs in der kurzen Frist simuliert</a:t>
            </a:r>
          </a:p>
          <a:p>
            <a:pPr marL="171450" indent="-171450">
              <a:buFontTx/>
              <a:buChar char="-"/>
            </a:pPr>
            <a:r>
              <a:rPr lang="de-DE" dirty="0"/>
              <a:t>Zeitraum: 1 Jahr in Viertelstündlicher Auflös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Anlage restringiert durch Strompreise, EE-Verfügbarkeit</a:t>
            </a:r>
          </a:p>
          <a:p>
            <a:pPr marL="171450" indent="-171450">
              <a:buFontTx/>
              <a:buChar char="-"/>
            </a:pPr>
            <a:r>
              <a:rPr lang="de-DE" dirty="0"/>
              <a:t>Daher als Input: Strompreise (DA und ID)</a:t>
            </a:r>
          </a:p>
          <a:p>
            <a:pPr marL="171450" indent="-171450">
              <a:buFontTx/>
              <a:buChar char="-"/>
            </a:pPr>
            <a:r>
              <a:rPr lang="de-DE" dirty="0"/>
              <a:t>Da starke Abhängigkeit von EE-Erzeugung: Stochastische Erzeugung verschiedener EE-Zeitreihen und Regressionsmodel zur Erzeugung von Strompreisen</a:t>
            </a:r>
          </a:p>
          <a:p>
            <a:pPr marL="171450" indent="-171450">
              <a:buFontTx/>
              <a:buChar char="-"/>
            </a:pPr>
            <a:r>
              <a:rPr lang="de-DE" dirty="0"/>
              <a:t>Input: Vielzahl (1000) an Strompreiszeitreihen und EE-Profilen</a:t>
            </a:r>
          </a:p>
          <a:p>
            <a:pPr marL="171450" indent="-171450">
              <a:buFontTx/>
              <a:buChar char="-"/>
            </a:pPr>
            <a:r>
              <a:rPr lang="de-DE" dirty="0"/>
              <a:t>Ergebnis daher Verteilungen an absolutem Gewinn (+ FLH, Gestehungskosten, etc.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91954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Prämisse: simulierter Elektrolyseur an </a:t>
            </a:r>
            <a:r>
              <a:rPr lang="de-DE" sz="1200" dirty="0" err="1"/>
              <a:t>öffentl</a:t>
            </a:r>
            <a:r>
              <a:rPr lang="de-DE" sz="1200" dirty="0"/>
              <a:t>. Netz angeschlossen, über virtuelle Zertifikate an RE-Erzeugung gebunden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Zertifikate haben </a:t>
            </a:r>
            <a:r>
              <a:rPr lang="de-DE" sz="1200" dirty="0" err="1"/>
              <a:t>unterschiedl</a:t>
            </a:r>
            <a:r>
              <a:rPr lang="de-DE" sz="1200" dirty="0"/>
              <a:t>. Lebensdauer (15 min maximale Gleichzeitigkeit)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H2 wird für einen exogen vorgegebenen H2-Preis verkauft, d.h. H2-Preis bestimmt maßgeblich den </a:t>
            </a:r>
            <a:r>
              <a:rPr lang="de-DE" sz="1200" dirty="0" err="1"/>
              <a:t>Benchmarkstrompreis</a:t>
            </a:r>
            <a:r>
              <a:rPr lang="de-DE" sz="1200" dirty="0"/>
              <a:t>, zu dem Elektrolyseur läuft oder nicht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Die Optimierung läuft rein gegen den Strom- bzw. H2-Preis , es ist keine Produktionsmenge vorgegeben (anders als andere Papiere)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Der Strombezug erfolgt über den Intraday- und Day-</a:t>
            </a:r>
            <a:r>
              <a:rPr lang="de-DE" sz="1200" dirty="0" err="1"/>
              <a:t>Ahead</a:t>
            </a:r>
            <a:r>
              <a:rPr lang="de-DE" sz="1200" dirty="0"/>
              <a:t>-Markt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Umlagen, Entgelte und Steuern summieren sich auf 2,4 €/MWh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Kapazitätsverhältnis EE und H2: 2:1 =&gt; fixiert, Literaturwert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Weitere Einkommensquellen (z.B. Wärme, Sauerstoff, Regelleistung) werden nicht berücksichtigt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de-DE" sz="1200" dirty="0"/>
              <a:t>Elektrolyseur: Normiert auf 1 MW mit </a:t>
            </a:r>
            <a:r>
              <a:rPr lang="de-DE" sz="1200" dirty="0" err="1"/>
              <a:t>Eff</a:t>
            </a:r>
            <a:r>
              <a:rPr lang="de-DE" sz="1200" dirty="0"/>
              <a:t>. 60% (</a:t>
            </a:r>
            <a:r>
              <a:rPr lang="de-DE" sz="1200" dirty="0" err="1"/>
              <a:t>Teilllasteff</a:t>
            </a:r>
            <a:r>
              <a:rPr lang="de-DE" sz="1200" dirty="0"/>
              <a:t>. Berücksichtigt), Capex: 800 (PEM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0839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/>
              <a:t>Zertifikat wird mit der EE-Erzeugung erstellt und ist gültig solange die Gleichzeitigkeit es zuläss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/>
              <a:t>Die Last innerhalb eines Zeitpunkts darf die Menge an verfügbaren/unverbrauchten Zertifikaten nicht überstei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/>
              <a:t>Techno-Ökonomische Nebenbedingungen, z.B. Teillasteffizienz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PEM: Höhere CAPEX, aber schnelleres </a:t>
            </a:r>
            <a:r>
              <a:rPr lang="de-DE" dirty="0" err="1"/>
              <a:t>Rampingverhalten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4313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Regressionen basierend auf der Literatur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DA regressiert auf die vorhergesagte Residuallast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ID regressiert auf den DA-Preis und den Wind-Vorhersage-Fehler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RE Erzeugung und Vorhersagefehler mit Monte Carlo </a:t>
            </a:r>
            <a:r>
              <a:rPr lang="de-DE" dirty="0" err="1"/>
              <a:t>gesampled</a:t>
            </a:r>
            <a:endParaRPr lang="de-DE" dirty="0"/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 err="1"/>
              <a:t>Autocorrelation</a:t>
            </a:r>
            <a:r>
              <a:rPr lang="de-DE" dirty="0"/>
              <a:t> mit einer Markov Chain berücksichtigt (15 </a:t>
            </a:r>
            <a:r>
              <a:rPr lang="de-DE" dirty="0" err="1"/>
              <a:t>states</a:t>
            </a:r>
            <a:r>
              <a:rPr lang="de-DE" dirty="0"/>
              <a:t>) Übergangswahrscheinlichkeiten basierend auf 2015-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0231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Case Study: Variation von H2-Preis und Gleichzeitigkeit</a:t>
            </a:r>
          </a:p>
          <a:p>
            <a:pPr marL="171450" indent="-171450">
              <a:buFontTx/>
              <a:buChar char="-"/>
            </a:pPr>
            <a:r>
              <a:rPr lang="de-DE" dirty="0"/>
              <a:t>Base Case: niedriger Zahlungsbereitschaft für grünen H2; Gleichzeitigkeit 1h</a:t>
            </a:r>
          </a:p>
          <a:p>
            <a:pPr marL="171450" indent="-171450">
              <a:buFontTx/>
              <a:buChar char="-"/>
            </a:pPr>
            <a:r>
              <a:rPr lang="de-DE" dirty="0"/>
              <a:t>Variation Gleichzeitigkeit (hoch= 15 min, niedrig= 1 </a:t>
            </a:r>
            <a:r>
              <a:rPr lang="de-DE" dirty="0" err="1"/>
              <a:t>jahr</a:t>
            </a:r>
            <a:r>
              <a:rPr lang="de-DE" dirty="0"/>
              <a:t> bis keine)</a:t>
            </a:r>
          </a:p>
          <a:p>
            <a:pPr marL="171450" indent="-171450">
              <a:buFontTx/>
              <a:buChar char="-"/>
            </a:pPr>
            <a:r>
              <a:rPr lang="de-DE" dirty="0"/>
              <a:t>Variation H2-Preis; Fokus Präsentation: Gleichzeitigkeit</a:t>
            </a:r>
          </a:p>
          <a:p>
            <a:pPr marL="171450" indent="-171450">
              <a:buFontTx/>
              <a:buChar char="-"/>
            </a:pPr>
            <a:r>
              <a:rPr lang="de-DE" dirty="0"/>
              <a:t>Auswertung: kurzfristig= Einsatzplanung; langfristig: Betrachtung Gewinne und Fixkosten (Annuität, fixe Betriebskosten)</a:t>
            </a:r>
          </a:p>
          <a:p>
            <a:pPr marL="171450" indent="-171450">
              <a:buFontTx/>
              <a:buChar char="-"/>
            </a:pPr>
            <a:r>
              <a:rPr lang="de-DE" dirty="0"/>
              <a:t>Zudem: Auswertung Grünstromcharakteristik indem Emissionsintensität des erzeugten H2 berechnet wird durch Abweichung vom EE-Profil (nicht in der Präsi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361CE9-1763-4CFD-ACF0-019B3A754D7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3015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360363" indent="-360363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4863" indent="-347663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16075" indent="-244475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60575" indent="-231775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Rechteck 6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Rechteck 8"/>
          <p:cNvSpPr/>
          <p:nvPr userDrawn="1"/>
        </p:nvSpPr>
        <p:spPr>
          <a:xfrm>
            <a:off x="797045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ewirtschaftliches</a:t>
            </a:r>
            <a:r>
              <a:rPr lang="en-US" altLang="de-DE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</a:t>
            </a:r>
            <a:r>
              <a:rPr lang="en-US" altLang="de-DE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der Universität </a:t>
            </a:r>
            <a:r>
              <a:rPr lang="en-US" altLang="de-DE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</a:t>
            </a:r>
            <a:r>
              <a:rPr lang="en-US" altLang="de-DE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öln| David Schlund, Philipp Theile | 08.09.2021</a:t>
            </a:r>
          </a:p>
        </p:txBody>
      </p:sp>
      <p:pic>
        <p:nvPicPr>
          <p:cNvPr id="10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F0A9C9E-5BA7-4527-8C8B-020759CF8F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998" y="365125"/>
            <a:ext cx="1695328" cy="82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465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1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/>
          <p:cNvSpPr/>
          <p:nvPr userDrawn="1"/>
        </p:nvSpPr>
        <p:spPr>
          <a:xfrm>
            <a:off x="797045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e of Energy Economics at the University of Cologne | David Schlund, Philipp Theile | 29.04.2021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C79628C-6E28-4411-A025-3D8BF485C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998" y="365125"/>
            <a:ext cx="1695328" cy="82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426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M:\Marketing\Debora_Schiffer\016\016_Präsentationsvorlagen_UzK\016_PPT_Lay_Titel_16zu9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2191061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966270-1666-4ACD-A35F-8FC296003E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731" y="1169328"/>
            <a:ext cx="1695328" cy="82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063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9C99D7-4988-4BFE-B883-C5A96B2C0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18923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6" imgH="346" progId="TCLayout.ActiveDocument.1">
                  <p:embed/>
                </p:oleObj>
              </mc:Choice>
              <mc:Fallback>
                <p:oleObj name="think-cell Folie" r:id="rId6" imgW="346" imgH="34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9C99D7-4988-4BFE-B883-C5A96B2C0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96321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  <p:sldLayoutId id="2147483677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t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ti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t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440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1.png"/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microsoft.com/office/2007/relationships/hdphoto" Target="../media/hdphoto2.wdp"/><Relationship Id="rId14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pn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11" Type="http://schemas.openxmlformats.org/officeDocument/2006/relationships/image" Target="../media/image23.svg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1.svg"/><Relationship Id="rId14" Type="http://schemas.openxmlformats.org/officeDocument/2006/relationships/image" Target="../media/image1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5.ti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11" Type="http://schemas.openxmlformats.org/officeDocument/2006/relationships/image" Target="../media/image30.png"/><Relationship Id="rId5" Type="http://schemas.openxmlformats.org/officeDocument/2006/relationships/image" Target="../media/image1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168676" y="4784330"/>
            <a:ext cx="1193662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economic viability of grid-connected power-to-hydrogen conversion - quantifying short- and long-term determinants</a:t>
            </a:r>
            <a:endParaRPr lang="de-DE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428261" y="6335742"/>
            <a:ext cx="888873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ewirtschaftliches Institut an der Universität zu Köln| David Schlund, Philipp Theile | 08.09.2021</a:t>
            </a:r>
          </a:p>
        </p:txBody>
      </p:sp>
    </p:spTree>
    <p:extLst>
      <p:ext uri="{BB962C8B-B14F-4D97-AF65-F5344CB8AC3E}">
        <p14:creationId xmlns:p14="http://schemas.microsoft.com/office/powerpoint/2010/main" val="6896591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698170-7CC9-4748-BCBD-4146B3B5A9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zenarioergebniss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AD5ECFE-5D2B-4AA8-816A-80F51E790B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69060" y="1628775"/>
            <a:ext cx="4284740" cy="4548188"/>
          </a:xfrm>
        </p:spPr>
        <p:txBody>
          <a:bodyPr/>
          <a:lstStyle/>
          <a:p>
            <a:r>
              <a:rPr lang="de-DE" sz="1800" dirty="0">
                <a:latin typeface="Trebuchet MS"/>
              </a:rPr>
              <a:t>Base Case: Untersuchung der Verteilung der Deckungsbeiträge des Elektrolyseurs</a:t>
            </a:r>
          </a:p>
          <a:p>
            <a:r>
              <a:rPr lang="de-DE" sz="1800" dirty="0">
                <a:latin typeface="Trebuchet MS"/>
              </a:rPr>
              <a:t>Sensitivität Gleichzeitigkeit: Erhöhung der Gleichzeitigkeit von 15 min. bis </a:t>
            </a:r>
            <a:r>
              <a:rPr lang="de-DE" sz="1800" i="1" dirty="0">
                <a:latin typeface="Trebuchet MS"/>
              </a:rPr>
              <a:t>keine</a:t>
            </a:r>
          </a:p>
          <a:p>
            <a:r>
              <a:rPr lang="de-DE" sz="1800" dirty="0">
                <a:latin typeface="Trebuchet MS"/>
              </a:rPr>
              <a:t>Auswertung der Ergebnisse hinsichtlich kurzfristiger Optimierung und langfristiger Wirtschaftlichkeit (unter Berücksichtigung der Annuitätszahlungen und fixen Betriebskosten)</a:t>
            </a:r>
          </a:p>
          <a:p>
            <a:endParaRPr lang="de-DE" sz="1800" dirty="0"/>
          </a:p>
        </p:txBody>
      </p:sp>
      <p:sp>
        <p:nvSpPr>
          <p:cNvPr id="5" name="Gleichschenkliges Dreieck 4">
            <a:extLst>
              <a:ext uri="{FF2B5EF4-FFF2-40B4-BE49-F238E27FC236}">
                <a16:creationId xmlns:a16="http://schemas.microsoft.com/office/drawing/2014/main" id="{3D9A38C9-922E-4D27-AEF9-B5C76E0AE2ED}"/>
              </a:ext>
            </a:extLst>
          </p:cNvPr>
          <p:cNvSpPr/>
          <p:nvPr/>
        </p:nvSpPr>
        <p:spPr>
          <a:xfrm rot="10800000">
            <a:off x="2765049" y="4242819"/>
            <a:ext cx="3798646" cy="341125"/>
          </a:xfrm>
          <a:prstGeom prst="triangle">
            <a:avLst/>
          </a:prstGeom>
          <a:solidFill>
            <a:srgbClr val="447A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3FDC09B-027C-4711-A582-70432D942DB8}"/>
              </a:ext>
            </a:extLst>
          </p:cNvPr>
          <p:cNvSpPr/>
          <p:nvPr/>
        </p:nvSpPr>
        <p:spPr>
          <a:xfrm>
            <a:off x="892597" y="4675437"/>
            <a:ext cx="6128085" cy="533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 i="1" dirty="0">
                <a:solidFill>
                  <a:srgbClr val="616767"/>
                </a:solidFill>
                <a:latin typeface="Trebuchet MS"/>
                <a:cs typeface="Arial"/>
              </a:rPr>
              <a:t>(1) Kurzfristige Betriebsoptimierung (Profitmaximierung)</a:t>
            </a:r>
            <a:endParaRPr lang="de-DE" i="1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925E73B-32A8-4C29-B8F8-0E6A70CCAC94}"/>
              </a:ext>
            </a:extLst>
          </p:cNvPr>
          <p:cNvSpPr/>
          <p:nvPr/>
        </p:nvSpPr>
        <p:spPr>
          <a:xfrm>
            <a:off x="892597" y="5166726"/>
            <a:ext cx="6128085" cy="533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 i="1" dirty="0">
                <a:solidFill>
                  <a:srgbClr val="616767"/>
                </a:solidFill>
                <a:latin typeface="Trebuchet MS"/>
                <a:cs typeface="Arial"/>
              </a:rPr>
              <a:t>(2) Langfristige Wirtschaftlichkeit (Vollkostendeckung)</a:t>
            </a:r>
            <a:endParaRPr lang="de-DE" i="1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020043F-C078-41E8-B492-77D1A9E13D43}"/>
              </a:ext>
            </a:extLst>
          </p:cNvPr>
          <p:cNvSpPr/>
          <p:nvPr/>
        </p:nvSpPr>
        <p:spPr>
          <a:xfrm>
            <a:off x="892597" y="5617910"/>
            <a:ext cx="6128085" cy="533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 i="1" dirty="0">
                <a:solidFill>
                  <a:schemeClr val="bg1">
                    <a:lumMod val="65000"/>
                  </a:schemeClr>
                </a:solidFill>
                <a:latin typeface="Trebuchet MS"/>
                <a:cs typeface="Arial"/>
              </a:rPr>
              <a:t>(3) Übertragung Grünstromcharakteristik</a:t>
            </a:r>
            <a:endParaRPr lang="de-DE" sz="1600" b="1" i="1" dirty="0">
              <a:solidFill>
                <a:schemeClr val="bg1">
                  <a:lumMod val="65000"/>
                </a:schemeClr>
              </a:solidFill>
              <a:cs typeface="Arial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DFFF3AC-E65E-4CD6-90FB-BC1FCDC58C3D}"/>
              </a:ext>
            </a:extLst>
          </p:cNvPr>
          <p:cNvSpPr/>
          <p:nvPr/>
        </p:nvSpPr>
        <p:spPr>
          <a:xfrm>
            <a:off x="857303" y="2280580"/>
            <a:ext cx="1866902" cy="533400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>
                <a:solidFill>
                  <a:schemeClr val="bg1"/>
                </a:solidFill>
                <a:latin typeface="Trebuchet MS"/>
                <a:cs typeface="Arial"/>
              </a:rPr>
              <a:t>Base Case</a:t>
            </a:r>
            <a:endParaRPr lang="de-DE" sz="1600" b="1">
              <a:solidFill>
                <a:schemeClr val="bg1"/>
              </a:solidFill>
              <a:latin typeface="Trebuchet MS" panose="020B0603020202020204" pitchFamily="34" charset="0"/>
              <a:cs typeface="Arial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9C5A624-6C87-4E76-8134-A7A71379B453}"/>
              </a:ext>
            </a:extLst>
          </p:cNvPr>
          <p:cNvSpPr/>
          <p:nvPr/>
        </p:nvSpPr>
        <p:spPr>
          <a:xfrm>
            <a:off x="857304" y="2940925"/>
            <a:ext cx="1866902" cy="533400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>
                <a:solidFill>
                  <a:schemeClr val="bg1"/>
                </a:solidFill>
                <a:latin typeface="Trebuchet MS"/>
                <a:cs typeface="Arial"/>
              </a:rPr>
              <a:t>Sensitivität</a:t>
            </a:r>
            <a:r>
              <a:rPr lang="de-DE" sz="1600">
                <a:solidFill>
                  <a:schemeClr val="bg1"/>
                </a:solidFill>
                <a:latin typeface="Trebuchet MS"/>
                <a:cs typeface="Arial"/>
              </a:rPr>
              <a:t>: </a:t>
            </a:r>
          </a:p>
          <a:p>
            <a:r>
              <a:rPr lang="de-DE" sz="1600">
                <a:solidFill>
                  <a:schemeClr val="bg1"/>
                </a:solidFill>
                <a:latin typeface="Trebuchet MS"/>
                <a:cs typeface="Arial"/>
              </a:rPr>
              <a:t>Gleichzeitigkeit</a:t>
            </a: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77C4347-A0A4-4E21-B9F0-A3A9E19A6A19}"/>
              </a:ext>
            </a:extLst>
          </p:cNvPr>
          <p:cNvSpPr/>
          <p:nvPr/>
        </p:nvSpPr>
        <p:spPr>
          <a:xfrm>
            <a:off x="843830" y="3601269"/>
            <a:ext cx="1866902" cy="533400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b="1">
                <a:solidFill>
                  <a:schemeClr val="bg1"/>
                </a:solidFill>
                <a:latin typeface="Trebuchet MS"/>
                <a:cs typeface="Arial"/>
              </a:rPr>
              <a:t>Sensitivität</a:t>
            </a:r>
            <a:r>
              <a:rPr lang="de-DE" sz="1600">
                <a:solidFill>
                  <a:schemeClr val="bg1"/>
                </a:solidFill>
                <a:latin typeface="Trebuchet MS"/>
                <a:cs typeface="Arial"/>
              </a:rPr>
              <a:t>: </a:t>
            </a:r>
          </a:p>
          <a:p>
            <a:r>
              <a:rPr lang="de-DE" sz="1600">
                <a:solidFill>
                  <a:schemeClr val="bg1"/>
                </a:solidFill>
                <a:latin typeface="Trebuchet MS"/>
                <a:cs typeface="Arial"/>
              </a:rPr>
              <a:t>Wasserstoffpreis</a:t>
            </a: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54A6DB2-9133-4821-897B-7A7485AD5EF7}"/>
              </a:ext>
            </a:extLst>
          </p:cNvPr>
          <p:cNvSpPr/>
          <p:nvPr/>
        </p:nvSpPr>
        <p:spPr>
          <a:xfrm>
            <a:off x="837047" y="3601263"/>
            <a:ext cx="1873686" cy="533400"/>
          </a:xfrm>
          <a:prstGeom prst="rect">
            <a:avLst/>
          </a:prstGeom>
          <a:solidFill>
            <a:srgbClr val="BAB8B8">
              <a:alpha val="50000"/>
            </a:srgb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rgbClr val="616767"/>
              </a:solidFill>
              <a:latin typeface="Trebuchet MS" panose="020B0603020202020204" pitchFamily="34" charset="0"/>
              <a:cs typeface="Arial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366261-65A9-47D2-8964-AF9024082E48}"/>
              </a:ext>
            </a:extLst>
          </p:cNvPr>
          <p:cNvSpPr/>
          <p:nvPr/>
        </p:nvSpPr>
        <p:spPr>
          <a:xfrm>
            <a:off x="2778121" y="1620234"/>
            <a:ext cx="1866902" cy="533400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  <a:latin typeface="Trebuchet MS"/>
                <a:cs typeface="Arial"/>
              </a:rPr>
              <a:t>H</a:t>
            </a:r>
            <a:r>
              <a:rPr lang="de-DE" sz="1600" b="1" baseline="-25000" dirty="0">
                <a:solidFill>
                  <a:schemeClr val="bg1"/>
                </a:solidFill>
                <a:latin typeface="Trebuchet MS"/>
                <a:cs typeface="Arial"/>
              </a:rPr>
              <a:t>2</a:t>
            </a:r>
            <a:r>
              <a:rPr lang="de-DE" sz="1600" b="1" dirty="0">
                <a:solidFill>
                  <a:schemeClr val="bg1"/>
                </a:solidFill>
                <a:latin typeface="Trebuchet MS"/>
                <a:cs typeface="Arial"/>
              </a:rPr>
              <a:t>-Prei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715EFCF-84A2-4E17-BB5A-355BDEC97FFB}"/>
              </a:ext>
            </a:extLst>
          </p:cNvPr>
          <p:cNvSpPr/>
          <p:nvPr/>
        </p:nvSpPr>
        <p:spPr>
          <a:xfrm>
            <a:off x="2778121" y="2280579"/>
            <a:ext cx="1866902" cy="533400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rgbClr val="616767"/>
                </a:solidFill>
                <a:latin typeface="Trebuchet MS"/>
                <a:cs typeface="Arial"/>
              </a:rPr>
              <a:t>3 €/kg</a:t>
            </a:r>
            <a:endParaRPr lang="de-DE" sz="16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B3ECA54-D68A-46F3-80FE-0656CB9D43FA}"/>
              </a:ext>
            </a:extLst>
          </p:cNvPr>
          <p:cNvSpPr/>
          <p:nvPr/>
        </p:nvSpPr>
        <p:spPr>
          <a:xfrm>
            <a:off x="2778121" y="2940925"/>
            <a:ext cx="1866902" cy="533400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rgbClr val="616767"/>
                </a:solidFill>
                <a:latin typeface="Trebuchet MS"/>
                <a:cs typeface="Arial"/>
              </a:rPr>
              <a:t>3 €/kg</a:t>
            </a:r>
            <a:endParaRPr lang="de-DE" sz="16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4E6BA88-3538-42E0-9C50-AE031F11BCEE}"/>
              </a:ext>
            </a:extLst>
          </p:cNvPr>
          <p:cNvSpPr/>
          <p:nvPr/>
        </p:nvSpPr>
        <p:spPr>
          <a:xfrm>
            <a:off x="2772585" y="3601269"/>
            <a:ext cx="1866902" cy="53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rgbClr val="616767"/>
                </a:solidFill>
                <a:latin typeface="Trebuchet MS"/>
                <a:cs typeface="Arial"/>
              </a:rPr>
              <a:t>1,5; 2; 2,5; 3; 3,5 €/kg</a:t>
            </a:r>
            <a:endParaRPr lang="de-DE" sz="160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8F8945F-4E90-461E-94FC-E7A6770E2521}"/>
              </a:ext>
            </a:extLst>
          </p:cNvPr>
          <p:cNvSpPr/>
          <p:nvPr/>
        </p:nvSpPr>
        <p:spPr>
          <a:xfrm>
            <a:off x="2774729" y="3601263"/>
            <a:ext cx="1873686" cy="533400"/>
          </a:xfrm>
          <a:prstGeom prst="rect">
            <a:avLst/>
          </a:prstGeom>
          <a:solidFill>
            <a:srgbClr val="BAB8B8">
              <a:alpha val="50000"/>
            </a:srgb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rgbClr val="616767"/>
              </a:solidFill>
              <a:latin typeface="Trebuchet MS" panose="020B0603020202020204" pitchFamily="34" charset="0"/>
              <a:cs typeface="Arial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B8B4880-B49B-48CB-97D1-155903BC1267}"/>
              </a:ext>
            </a:extLst>
          </p:cNvPr>
          <p:cNvSpPr/>
          <p:nvPr/>
        </p:nvSpPr>
        <p:spPr>
          <a:xfrm>
            <a:off x="4706875" y="1620234"/>
            <a:ext cx="1866902" cy="533400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chemeClr val="bg1"/>
                </a:solidFill>
                <a:latin typeface="Trebuchet MS"/>
                <a:cs typeface="Arial"/>
              </a:rPr>
              <a:t>Gleichzeitigkeit</a:t>
            </a: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E41C553-8A7D-45B8-B073-7BD02372742D}"/>
              </a:ext>
            </a:extLst>
          </p:cNvPr>
          <p:cNvSpPr/>
          <p:nvPr/>
        </p:nvSpPr>
        <p:spPr>
          <a:xfrm>
            <a:off x="4706875" y="2280579"/>
            <a:ext cx="1866902" cy="533400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rgbClr val="616767"/>
                </a:solidFill>
                <a:cs typeface="Arial"/>
              </a:rPr>
              <a:t>1 Stund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B9DB5FD-BFE0-4225-98ED-21DCE4C9B49C}"/>
              </a:ext>
            </a:extLst>
          </p:cNvPr>
          <p:cNvSpPr/>
          <p:nvPr/>
        </p:nvSpPr>
        <p:spPr>
          <a:xfrm>
            <a:off x="4706875" y="2940925"/>
            <a:ext cx="1866902" cy="53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rgbClr val="616767"/>
                </a:solidFill>
                <a:cs typeface="Arial"/>
              </a:rPr>
              <a:t>15 min., 1h, 8h, 12h, 1y, kein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89B93C3-68D5-44EB-A0F7-74CE3D8372AA}"/>
              </a:ext>
            </a:extLst>
          </p:cNvPr>
          <p:cNvSpPr/>
          <p:nvPr/>
        </p:nvSpPr>
        <p:spPr>
          <a:xfrm>
            <a:off x="4696793" y="3601269"/>
            <a:ext cx="1866902" cy="533400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>
                <a:solidFill>
                  <a:srgbClr val="616767"/>
                </a:solidFill>
                <a:cs typeface="Arial"/>
              </a:rPr>
              <a:t>1h</a:t>
            </a:r>
            <a:endParaRPr lang="de-DE" sz="160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287C21D-1AA0-4224-A780-84FEA5DE77EC}"/>
              </a:ext>
            </a:extLst>
          </p:cNvPr>
          <p:cNvSpPr/>
          <p:nvPr/>
        </p:nvSpPr>
        <p:spPr>
          <a:xfrm>
            <a:off x="4703483" y="3601263"/>
            <a:ext cx="1873686" cy="533400"/>
          </a:xfrm>
          <a:prstGeom prst="rect">
            <a:avLst/>
          </a:prstGeom>
          <a:solidFill>
            <a:srgbClr val="BAB8B8">
              <a:alpha val="50000"/>
            </a:srgb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rgbClr val="616767"/>
              </a:solidFill>
              <a:latin typeface="Trebuchet MS" panose="020B0603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4694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1CB190-F893-44EF-A8FE-DC7B60674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zenarioergebniss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BE04CE-644D-49FB-A645-B43B7FF16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56412" y="1628775"/>
            <a:ext cx="4997388" cy="4548188"/>
          </a:xfrm>
        </p:spPr>
        <p:txBody>
          <a:bodyPr/>
          <a:lstStyle/>
          <a:p>
            <a:r>
              <a:rPr lang="de-DE" sz="1800" dirty="0">
                <a:latin typeface="Trebuchet MS"/>
              </a:rPr>
              <a:t>Zahlungsbereitschaft 3 €/kg bei stündlicher Zeitgleichheit</a:t>
            </a:r>
          </a:p>
          <a:p>
            <a:r>
              <a:rPr lang="de-DE" sz="1800" dirty="0">
                <a:latin typeface="Trebuchet MS"/>
              </a:rPr>
              <a:t>Deckungsbeitrag variiert um Mittelwert von 28.590€/MW mit min=18.914€/MW und </a:t>
            </a:r>
            <a:r>
              <a:rPr lang="de-DE" sz="1800" dirty="0" err="1">
                <a:latin typeface="Trebuchet MS"/>
              </a:rPr>
              <a:t>max</a:t>
            </a:r>
            <a:r>
              <a:rPr lang="de-DE" sz="1800" dirty="0">
                <a:latin typeface="Trebuchet MS"/>
              </a:rPr>
              <a:t>=49.403€/MW</a:t>
            </a:r>
          </a:p>
          <a:p>
            <a:r>
              <a:rPr lang="de-DE" sz="1800" dirty="0">
                <a:latin typeface="Trebuchet MS"/>
              </a:rPr>
              <a:t>Profit-Verteilung ist rechtsschief, da sich Wind-verfügbarkeit (und resultierende Strompreise) in H</a:t>
            </a:r>
            <a:r>
              <a:rPr lang="de-DE" sz="1800" baseline="-25000" dirty="0">
                <a:latin typeface="Trebuchet MS"/>
              </a:rPr>
              <a:t>2</a:t>
            </a:r>
            <a:r>
              <a:rPr lang="de-DE" sz="1800" dirty="0">
                <a:latin typeface="Trebuchet MS"/>
              </a:rPr>
              <a:t>-Erzeugung übersetzen</a:t>
            </a:r>
          </a:p>
          <a:p>
            <a:r>
              <a:rPr lang="de-DE" sz="1800" dirty="0">
                <a:latin typeface="Trebuchet MS"/>
              </a:rPr>
              <a:t>Unter Berücksichtigung der Vollkosten (Annuität und fixe Betriebskosten) zeigt sich Finanzierungslücke</a:t>
            </a:r>
            <a:endParaRPr lang="de-DE" sz="1800" dirty="0"/>
          </a:p>
          <a:p>
            <a:r>
              <a:rPr lang="de-DE" sz="1800" dirty="0">
                <a:latin typeface="Trebuchet MS"/>
              </a:rPr>
              <a:t>Für 50% der Fälle liegt die Finanzierungslücke bei maximal 3.6 €/kg</a:t>
            </a:r>
          </a:p>
          <a:p>
            <a:endParaRPr lang="de-DE" sz="1800" dirty="0"/>
          </a:p>
        </p:txBody>
      </p:sp>
      <p:pic>
        <p:nvPicPr>
          <p:cNvPr id="14" name="Inhaltsplatzhalter 13">
            <a:extLst>
              <a:ext uri="{FF2B5EF4-FFF2-40B4-BE49-F238E27FC236}">
                <a16:creationId xmlns:a16="http://schemas.microsoft.com/office/drawing/2014/main" id="{49CA5864-E05B-4AB5-82D3-3A19A5561C1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005" y="1994310"/>
            <a:ext cx="5148000" cy="1484407"/>
          </a:xfr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C7B33C24-A12B-4EE4-9AA4-ADB785D0A158}"/>
              </a:ext>
            </a:extLst>
          </p:cNvPr>
          <p:cNvSpPr/>
          <p:nvPr/>
        </p:nvSpPr>
        <p:spPr>
          <a:xfrm rot="16200000">
            <a:off x="4138" y="2519185"/>
            <a:ext cx="2043283" cy="321914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>
                <a:solidFill>
                  <a:schemeClr val="bg1"/>
                </a:solidFill>
                <a:latin typeface="Trebuchet MS"/>
                <a:cs typeface="Arial"/>
              </a:rPr>
              <a:t>Kurzfristig</a:t>
            </a: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F4454A-8B61-47F6-B6D9-E421585A3495}"/>
              </a:ext>
            </a:extLst>
          </p:cNvPr>
          <p:cNvSpPr/>
          <p:nvPr/>
        </p:nvSpPr>
        <p:spPr>
          <a:xfrm rot="16200000">
            <a:off x="4138" y="4916600"/>
            <a:ext cx="2043283" cy="321914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Trebuchet MS"/>
                <a:cs typeface="Arial"/>
              </a:rPr>
              <a:t>Langfristig</a:t>
            </a:r>
            <a:endParaRPr lang="de-DE" sz="1600" dirty="0">
              <a:solidFill>
                <a:schemeClr val="bg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F729C67B-B441-4614-8859-82F79238A6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005" y="4019206"/>
            <a:ext cx="5148000" cy="2027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212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7C20E8-686F-42AC-AF10-498E35DC8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zenarioergebnisse</a:t>
            </a:r>
            <a:endParaRPr lang="de-DE" dirty="0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9574177B-3CE2-4499-B0B4-CEFA341D7BF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582" y="3824986"/>
            <a:ext cx="3060192" cy="2340864"/>
          </a:xfr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9C32201C-791B-4850-A79A-72E7E932FE9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80" y="2169922"/>
            <a:ext cx="2627376" cy="3995928"/>
          </a:xfr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99F371B-D8A0-4A8B-A40B-DA6DAE44588F}"/>
              </a:ext>
            </a:extLst>
          </p:cNvPr>
          <p:cNvSpPr/>
          <p:nvPr/>
        </p:nvSpPr>
        <p:spPr>
          <a:xfrm>
            <a:off x="940299" y="1769348"/>
            <a:ext cx="2472372" cy="321914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Trebuchet MS"/>
                <a:cs typeface="Arial"/>
              </a:rPr>
              <a:t>Kurzfristig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72C7B63-9CB0-4AF1-B676-73CE96795990}"/>
              </a:ext>
            </a:extLst>
          </p:cNvPr>
          <p:cNvSpPr/>
          <p:nvPr/>
        </p:nvSpPr>
        <p:spPr>
          <a:xfrm>
            <a:off x="3611579" y="1769348"/>
            <a:ext cx="2472372" cy="321914"/>
          </a:xfrm>
          <a:prstGeom prst="rect">
            <a:avLst/>
          </a:prstGeom>
          <a:solidFill>
            <a:srgbClr val="447A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Trebuchet MS"/>
                <a:cs typeface="Arial"/>
              </a:rPr>
              <a:t>Langfristig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01357404-E534-465F-9A7B-EEAC9DF141E6}"/>
              </a:ext>
            </a:extLst>
          </p:cNvPr>
          <p:cNvSpPr txBox="1">
            <a:spLocks/>
          </p:cNvSpPr>
          <p:nvPr/>
        </p:nvSpPr>
        <p:spPr>
          <a:xfrm>
            <a:off x="6356412" y="1628775"/>
            <a:ext cx="4997388" cy="45481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latin typeface="Trebuchet MS"/>
              </a:rPr>
              <a:t>Wasserstoffpreis bei 3 €/kg fixiert</a:t>
            </a:r>
          </a:p>
          <a:p>
            <a:r>
              <a:rPr lang="de-DE" sz="1800" dirty="0">
                <a:latin typeface="Trebuchet MS"/>
              </a:rPr>
              <a:t>Variation der Gleichzeitigkeit (15min, 1h, 8h, 12h, 1 Jahr, keine)</a:t>
            </a:r>
          </a:p>
          <a:p>
            <a:r>
              <a:rPr lang="de-DE" sz="1800" dirty="0">
                <a:latin typeface="Trebuchet MS"/>
              </a:rPr>
              <a:t>Deckungsbeitrag erhöht sich bei niedrigerer Gleichzeitigkeit, da höhere Flexibilität beim Dispatch</a:t>
            </a:r>
          </a:p>
          <a:p>
            <a:endParaRPr lang="de-DE" sz="1800" dirty="0">
              <a:latin typeface="Trebuchet MS"/>
            </a:endParaRPr>
          </a:p>
          <a:p>
            <a:r>
              <a:rPr lang="de-DE" sz="1800" dirty="0">
                <a:latin typeface="Trebuchet MS"/>
              </a:rPr>
              <a:t>Durch starke Begrenzung der VLS erhöht Annuität die LCOH deutlich</a:t>
            </a:r>
          </a:p>
          <a:p>
            <a:r>
              <a:rPr lang="de-DE" sz="1800" dirty="0">
                <a:latin typeface="Trebuchet MS"/>
              </a:rPr>
              <a:t>Finanzierungslücke bleibt auch ohne Gleichzeitigkeitskriterium</a:t>
            </a:r>
          </a:p>
        </p:txBody>
      </p:sp>
    </p:spTree>
    <p:extLst>
      <p:ext uri="{BB962C8B-B14F-4D97-AF65-F5344CB8AC3E}">
        <p14:creationId xmlns:p14="http://schemas.microsoft.com/office/powerpoint/2010/main" val="3641625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22E8FA-F107-4AFD-B2C3-152BE1D601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5140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22E8FA-F107-4AFD-B2C3-152BE1D60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68B29226-91B1-470A-BDE5-8C1185320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Einordnung</a:t>
            </a:r>
            <a:r>
              <a:rPr lang="en-US" dirty="0"/>
              <a:t> und </a:t>
            </a:r>
            <a:r>
              <a:rPr lang="en-US" dirty="0" err="1"/>
              <a:t>Ausblick</a:t>
            </a:r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D28ADCA-F28E-4DFF-BBEF-1983C64D9201}"/>
              </a:ext>
            </a:extLst>
          </p:cNvPr>
          <p:cNvSpPr/>
          <p:nvPr/>
        </p:nvSpPr>
        <p:spPr>
          <a:xfrm>
            <a:off x="839788" y="1825625"/>
            <a:ext cx="10512425" cy="1758823"/>
          </a:xfrm>
          <a:prstGeom prst="rect">
            <a:avLst/>
          </a:prstGeom>
          <a:noFill/>
          <a:ln w="19050">
            <a:solidFill>
              <a:srgbClr val="447A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de-DE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Unsere Ergebnisse zeigen, dass die LCOH mit niedrigerer Gleichzeitigkeit sinken, da der Elektrolyseur höhere Volllaststunden bei durchschnittlich niedrigeren Stromkosten erzielt.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de-DE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Die Gleichzeitigkeit stellt somit einen Stellhebel zwischen Größe der Finanzierungslücke von Elektrolyseuren und der assoziierten Emissionsintensität des Wasserstoffs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CCC38DE-7C18-4A45-ABDE-D032E2CF5782}"/>
              </a:ext>
            </a:extLst>
          </p:cNvPr>
          <p:cNvSpPr/>
          <p:nvPr/>
        </p:nvSpPr>
        <p:spPr>
          <a:xfrm>
            <a:off x="1069848" y="1657032"/>
            <a:ext cx="1956816" cy="337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rgbClr val="447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eichzeitigkeit</a:t>
            </a:r>
            <a:endParaRPr lang="en-US" b="1" dirty="0">
              <a:solidFill>
                <a:srgbClr val="447A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516DDB5-00F5-48D5-850B-4A3D693C7F93}"/>
              </a:ext>
            </a:extLst>
          </p:cNvPr>
          <p:cNvSpPr/>
          <p:nvPr/>
        </p:nvSpPr>
        <p:spPr>
          <a:xfrm>
            <a:off x="838200" y="3887978"/>
            <a:ext cx="10512425" cy="1758823"/>
          </a:xfrm>
          <a:prstGeom prst="rect">
            <a:avLst/>
          </a:prstGeom>
          <a:noFill/>
          <a:ln w="19050">
            <a:solidFill>
              <a:srgbClr val="447A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de-DE" dirty="0">
                <a:solidFill>
                  <a:schemeClr val="tx2"/>
                </a:solidFill>
                <a:latin typeface="Trebuchet MS"/>
                <a:cs typeface="Arial"/>
              </a:rPr>
              <a:t>Abhängigkeit von stark variierender EE-Erzeugung und Strompreisen erhöht das Risiko für den Investor. Finanzierungslücke variiert somit stark mit EE-Erzeugung und Strompreisen.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de-DE" dirty="0">
                <a:solidFill>
                  <a:schemeClr val="tx2"/>
                </a:solidFill>
                <a:latin typeface="Trebuchet MS"/>
                <a:cs typeface="Arial"/>
              </a:rPr>
              <a:t>Bei zukünftigen Förderinstrumenten ist neben der absoluten Förderhöhe auch die Risikoverteilung zwischen Investor und Fördermittelgeber zu berücksichtige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FCB241D-54E9-40B0-A815-1A0B842CEA49}"/>
              </a:ext>
            </a:extLst>
          </p:cNvPr>
          <p:cNvSpPr/>
          <p:nvPr/>
        </p:nvSpPr>
        <p:spPr>
          <a:xfrm>
            <a:off x="1068260" y="3719385"/>
            <a:ext cx="1956816" cy="337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447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E-</a:t>
            </a:r>
            <a:r>
              <a:rPr lang="en-US" b="1" dirty="0" err="1">
                <a:solidFill>
                  <a:srgbClr val="447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atilität</a:t>
            </a:r>
            <a:endParaRPr lang="en-US" b="1" dirty="0">
              <a:solidFill>
                <a:srgbClr val="447A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0598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26B75A6-7AC1-40C4-AF45-69F9CDA37C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60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26B75A6-7AC1-40C4-AF45-69F9CDA37C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1DE70E8-6E87-4BE2-B663-BD3C775F6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eference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BF77EAB-12DF-45CD-8C01-25E0F58A58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8774"/>
            <a:ext cx="10515600" cy="4537075"/>
          </a:xfrm>
        </p:spPr>
        <p:txBody>
          <a:bodyPr/>
          <a:lstStyle/>
          <a:p>
            <a:pPr marL="0" indent="0">
              <a:buNone/>
            </a:pPr>
            <a:r>
              <a:rPr lang="de-DE" sz="1000" err="1"/>
              <a:t>Amelin</a:t>
            </a:r>
            <a:r>
              <a:rPr lang="de-DE" sz="1000"/>
              <a:t>, Mikael (2004): On Monte Carlo Simulation and Analysis </a:t>
            </a:r>
            <a:r>
              <a:rPr lang="de-DE" sz="1000" err="1"/>
              <a:t>of</a:t>
            </a:r>
            <a:r>
              <a:rPr lang="de-DE" sz="1000"/>
              <a:t> </a:t>
            </a:r>
            <a:r>
              <a:rPr lang="de-DE" sz="1000" err="1"/>
              <a:t>Electricity</a:t>
            </a:r>
            <a:r>
              <a:rPr lang="de-DE" sz="1000"/>
              <a:t> </a:t>
            </a:r>
            <a:r>
              <a:rPr lang="de-DE" sz="1000" err="1"/>
              <a:t>Markets</a:t>
            </a:r>
            <a:r>
              <a:rPr lang="de-DE" sz="1000"/>
              <a:t>. </a:t>
            </a:r>
            <a:r>
              <a:rPr lang="de-DE" sz="1000" err="1"/>
              <a:t>Doctoral</a:t>
            </a:r>
            <a:r>
              <a:rPr lang="de-DE" sz="1000"/>
              <a:t> Thesis. Royal Institute </a:t>
            </a:r>
            <a:r>
              <a:rPr lang="de-DE" sz="1000" err="1"/>
              <a:t>of</a:t>
            </a:r>
            <a:r>
              <a:rPr lang="de-DE" sz="1000"/>
              <a:t> Technology, Stockholm. Department </a:t>
            </a:r>
            <a:r>
              <a:rPr lang="de-DE" sz="1000" err="1"/>
              <a:t>of</a:t>
            </a:r>
            <a:r>
              <a:rPr lang="de-DE" sz="1000"/>
              <a:t> </a:t>
            </a:r>
            <a:r>
              <a:rPr lang="de-DE" sz="1000" err="1"/>
              <a:t>Electrical</a:t>
            </a:r>
            <a:r>
              <a:rPr lang="de-DE" sz="1000"/>
              <a:t> Engineering.</a:t>
            </a:r>
          </a:p>
          <a:p>
            <a:pPr marL="0" indent="0">
              <a:buNone/>
            </a:pPr>
            <a:r>
              <a:rPr lang="en-US" sz="1000"/>
              <a:t>Baumann, Christoph, Robert Schuster, and Albert Moser (2013). "Economic potential of power-to-gas energy storages." 2013 10th International Conference on the European Energy Market (EEM). IEEE, 2013.</a:t>
            </a:r>
          </a:p>
          <a:p>
            <a:pPr marL="0" indent="0">
              <a:buNone/>
            </a:pPr>
            <a:r>
              <a:rPr lang="en-US" sz="1000" err="1"/>
              <a:t>Beiron</a:t>
            </a:r>
            <a:r>
              <a:rPr lang="en-US" sz="1000"/>
              <a:t>, Johanna, et al. "Combined heat and power operational modes for increased product flexibility in a waste incineration plant." Energy 202 (2020): 117696.</a:t>
            </a:r>
          </a:p>
          <a:p>
            <a:pPr marL="0" indent="0">
              <a:buNone/>
            </a:pPr>
            <a:r>
              <a:rPr lang="en-US" sz="1000"/>
              <a:t>Burger, Markus, et al. (2004) "A spot market model for pricing derivatives in electricity markets." Quantitative finance 4: 109-122.</a:t>
            </a:r>
          </a:p>
          <a:p>
            <a:pPr marL="0" indent="0">
              <a:buNone/>
            </a:pPr>
            <a:r>
              <a:rPr lang="de-DE" sz="1000" err="1"/>
              <a:t>bdew</a:t>
            </a:r>
            <a:r>
              <a:rPr lang="de-DE" sz="1000"/>
              <a:t> (2021): BDEW-Strompreisanalyse. </a:t>
            </a:r>
          </a:p>
          <a:p>
            <a:pPr marL="0" indent="0">
              <a:buNone/>
            </a:pPr>
            <a:r>
              <a:rPr lang="de-DE" sz="1000"/>
              <a:t>Brändle, Gregor; Schönfisch, Max; Schulte, Simon (2020): </a:t>
            </a:r>
            <a:r>
              <a:rPr lang="de-DE" sz="1000" err="1"/>
              <a:t>Estimating</a:t>
            </a:r>
            <a:r>
              <a:rPr lang="de-DE" sz="1000"/>
              <a:t> Long-Term Global Supply Costs </a:t>
            </a:r>
            <a:r>
              <a:rPr lang="de-DE" sz="1000" err="1"/>
              <a:t>for</a:t>
            </a:r>
            <a:r>
              <a:rPr lang="de-DE" sz="1000"/>
              <a:t> Low-Carbon Hydrogen. In: EWI Working Paper (20/04).</a:t>
            </a:r>
          </a:p>
          <a:p>
            <a:pPr marL="0" indent="0">
              <a:buNone/>
            </a:pPr>
            <a:r>
              <a:rPr lang="de-DE" sz="1000"/>
              <a:t>Breyer, Christian; </a:t>
            </a:r>
            <a:r>
              <a:rPr lang="de-DE" sz="1000" err="1"/>
              <a:t>Tsupari</a:t>
            </a:r>
            <a:r>
              <a:rPr lang="de-DE" sz="1000"/>
              <a:t>, </a:t>
            </a:r>
            <a:r>
              <a:rPr lang="de-DE" sz="1000" err="1"/>
              <a:t>Eemeli</a:t>
            </a:r>
            <a:r>
              <a:rPr lang="de-DE" sz="1000"/>
              <a:t>; Tikka, </a:t>
            </a:r>
            <a:r>
              <a:rPr lang="de-DE" sz="1000" err="1"/>
              <a:t>Ville</a:t>
            </a:r>
            <a:r>
              <a:rPr lang="de-DE" sz="1000"/>
              <a:t>; </a:t>
            </a:r>
            <a:r>
              <a:rPr lang="de-DE" sz="1000" err="1"/>
              <a:t>Vainikka</a:t>
            </a:r>
            <a:r>
              <a:rPr lang="de-DE" sz="1000"/>
              <a:t>, Pasi (2015): Power-</a:t>
            </a:r>
            <a:r>
              <a:rPr lang="de-DE" sz="1000" err="1"/>
              <a:t>to</a:t>
            </a:r>
            <a:r>
              <a:rPr lang="de-DE" sz="1000"/>
              <a:t>-Gas </a:t>
            </a:r>
            <a:r>
              <a:rPr lang="de-DE" sz="1000" err="1"/>
              <a:t>as</a:t>
            </a:r>
            <a:r>
              <a:rPr lang="de-DE" sz="1000"/>
              <a:t> an Emerging Profitable Business Through </a:t>
            </a:r>
            <a:r>
              <a:rPr lang="de-DE" sz="1000" err="1"/>
              <a:t>Creating</a:t>
            </a:r>
            <a:r>
              <a:rPr lang="de-DE" sz="1000"/>
              <a:t> an Integrated Value Chain. In: Energy </a:t>
            </a:r>
            <a:r>
              <a:rPr lang="de-DE" sz="1000" err="1"/>
              <a:t>Procedia</a:t>
            </a:r>
            <a:r>
              <a:rPr lang="de-DE" sz="1000"/>
              <a:t> 73, S. 182–189. </a:t>
            </a:r>
          </a:p>
          <a:p>
            <a:pPr marL="0" indent="0">
              <a:buNone/>
            </a:pPr>
            <a:r>
              <a:rPr lang="de-DE" sz="1000"/>
              <a:t>Cam, Eren (2020): Optimal Dispatch </a:t>
            </a:r>
            <a:r>
              <a:rPr lang="de-DE" sz="1000" err="1"/>
              <a:t>of</a:t>
            </a:r>
            <a:r>
              <a:rPr lang="de-DE" sz="1000"/>
              <a:t> a Coal-</a:t>
            </a:r>
            <a:r>
              <a:rPr lang="de-DE" sz="1000" err="1"/>
              <a:t>Fired</a:t>
            </a:r>
            <a:r>
              <a:rPr lang="de-DE" sz="1000"/>
              <a:t> Power Plant </a:t>
            </a:r>
            <a:r>
              <a:rPr lang="de-DE" sz="1000" err="1"/>
              <a:t>with</a:t>
            </a:r>
            <a:r>
              <a:rPr lang="de-DE" sz="1000"/>
              <a:t> Integrated Thermal Energy Storage. In: EWI Working Paper, </a:t>
            </a:r>
            <a:r>
              <a:rPr lang="de-DE" sz="1000" err="1"/>
              <a:t>No</a:t>
            </a:r>
            <a:r>
              <a:rPr lang="de-DE" sz="1000"/>
              <a:t> 20/05. </a:t>
            </a:r>
          </a:p>
          <a:p>
            <a:pPr marL="0" indent="0">
              <a:buNone/>
            </a:pPr>
            <a:r>
              <a:rPr lang="de-DE" sz="1000"/>
              <a:t>Crews, M. A., &amp; </a:t>
            </a:r>
            <a:r>
              <a:rPr lang="de-DE" sz="1000" err="1"/>
              <a:t>Shumake</a:t>
            </a:r>
            <a:r>
              <a:rPr lang="de-DE" sz="1000"/>
              <a:t>, B. G. (2017). Hydrogen </a:t>
            </a:r>
            <a:r>
              <a:rPr lang="de-DE" sz="1000" err="1"/>
              <a:t>production</a:t>
            </a:r>
            <a:r>
              <a:rPr lang="de-DE" sz="1000"/>
              <a:t>. Springer </a:t>
            </a:r>
            <a:r>
              <a:rPr lang="de-DE" sz="1000" err="1"/>
              <a:t>Handbooks</a:t>
            </a:r>
            <a:r>
              <a:rPr lang="de-DE" sz="1000"/>
              <a:t> (Vol. PartF1). </a:t>
            </a:r>
          </a:p>
          <a:p>
            <a:pPr marL="0" indent="0">
              <a:buNone/>
            </a:pPr>
            <a:r>
              <a:rPr lang="de-DE" sz="1000" err="1"/>
              <a:t>dena</a:t>
            </a:r>
            <a:r>
              <a:rPr lang="de-DE" sz="1000"/>
              <a:t> (2018). Power </a:t>
            </a:r>
            <a:r>
              <a:rPr lang="de-DE" sz="1000" err="1"/>
              <a:t>to</a:t>
            </a:r>
            <a:r>
              <a:rPr lang="de-DE" sz="1000"/>
              <a:t> X: Strombezug.</a:t>
            </a:r>
          </a:p>
          <a:p>
            <a:pPr marL="0" indent="0">
              <a:buNone/>
            </a:pPr>
            <a:r>
              <a:rPr lang="de-DE" sz="1000" err="1"/>
              <a:t>dena</a:t>
            </a:r>
            <a:r>
              <a:rPr lang="de-DE" sz="1000"/>
              <a:t>. (2018). </a:t>
            </a:r>
            <a:r>
              <a:rPr lang="de-DE" sz="1000" err="1"/>
              <a:t>dena</a:t>
            </a:r>
            <a:r>
              <a:rPr lang="de-DE" sz="1000"/>
              <a:t>-Leitstudie Integrierte Energiewende.</a:t>
            </a:r>
          </a:p>
          <a:p>
            <a:pPr marL="0" indent="0">
              <a:buNone/>
            </a:pPr>
            <a:r>
              <a:rPr lang="de-DE" sz="1000"/>
              <a:t>Ehrlich, Lars G.; </a:t>
            </a:r>
            <a:r>
              <a:rPr lang="de-DE" sz="1000" err="1"/>
              <a:t>Klamka</a:t>
            </a:r>
            <a:r>
              <a:rPr lang="de-DE" sz="1000"/>
              <a:t>, Jonas; Wolf, André (2015): The potential </a:t>
            </a:r>
            <a:r>
              <a:rPr lang="de-DE" sz="1000" err="1"/>
              <a:t>of</a:t>
            </a:r>
            <a:r>
              <a:rPr lang="de-DE" sz="1000"/>
              <a:t> </a:t>
            </a:r>
            <a:r>
              <a:rPr lang="de-DE" sz="1000" err="1"/>
              <a:t>decentralized</a:t>
            </a:r>
            <a:r>
              <a:rPr lang="de-DE" sz="1000"/>
              <a:t> power-</a:t>
            </a:r>
            <a:r>
              <a:rPr lang="de-DE" sz="1000" err="1"/>
              <a:t>to</a:t>
            </a:r>
            <a:r>
              <a:rPr lang="de-DE" sz="1000"/>
              <a:t>-</a:t>
            </a:r>
            <a:r>
              <a:rPr lang="de-DE" sz="1000" err="1"/>
              <a:t>heat</a:t>
            </a:r>
            <a:r>
              <a:rPr lang="de-DE" sz="1000"/>
              <a:t> </a:t>
            </a:r>
            <a:r>
              <a:rPr lang="de-DE" sz="1000" err="1"/>
              <a:t>as</a:t>
            </a:r>
            <a:r>
              <a:rPr lang="de-DE" sz="1000"/>
              <a:t> a </a:t>
            </a:r>
            <a:r>
              <a:rPr lang="de-DE" sz="1000" err="1"/>
              <a:t>flexibility</a:t>
            </a:r>
            <a:r>
              <a:rPr lang="de-DE" sz="1000"/>
              <a:t> </a:t>
            </a:r>
            <a:r>
              <a:rPr lang="de-DE" sz="1000" err="1"/>
              <a:t>option</a:t>
            </a:r>
            <a:r>
              <a:rPr lang="de-DE" sz="1000"/>
              <a:t> </a:t>
            </a:r>
            <a:r>
              <a:rPr lang="de-DE" sz="1000" err="1"/>
              <a:t>for</a:t>
            </a:r>
            <a:r>
              <a:rPr lang="de-DE" sz="1000"/>
              <a:t> </a:t>
            </a:r>
            <a:r>
              <a:rPr lang="de-DE" sz="1000" err="1"/>
              <a:t>the</a:t>
            </a:r>
            <a:r>
              <a:rPr lang="de-DE" sz="1000"/>
              <a:t> </a:t>
            </a:r>
            <a:r>
              <a:rPr lang="de-DE" sz="1000" err="1"/>
              <a:t>german</a:t>
            </a:r>
            <a:r>
              <a:rPr lang="de-DE" sz="1000"/>
              <a:t> </a:t>
            </a:r>
            <a:r>
              <a:rPr lang="de-DE" sz="1000" err="1"/>
              <a:t>electricity</a:t>
            </a:r>
            <a:r>
              <a:rPr lang="de-DE" sz="1000"/>
              <a:t> </a:t>
            </a:r>
            <a:r>
              <a:rPr lang="de-DE" sz="1000" err="1"/>
              <a:t>system</a:t>
            </a:r>
            <a:r>
              <a:rPr lang="de-DE" sz="1000"/>
              <a:t>: A </a:t>
            </a:r>
            <a:r>
              <a:rPr lang="de-DE" sz="1000" err="1"/>
              <a:t>microeconomic</a:t>
            </a:r>
            <a:r>
              <a:rPr lang="de-DE" sz="1000"/>
              <a:t> </a:t>
            </a:r>
            <a:r>
              <a:rPr lang="de-DE" sz="1000" err="1"/>
              <a:t>perspective</a:t>
            </a:r>
            <a:r>
              <a:rPr lang="de-DE" sz="1000"/>
              <a:t>. In: Energy Policy 87 (11), S. 417–428. </a:t>
            </a:r>
          </a:p>
          <a:p>
            <a:pPr marL="0" indent="0">
              <a:buNone/>
            </a:pPr>
            <a:r>
              <a:rPr lang="de-DE" sz="1000" err="1"/>
              <a:t>Elberg</a:t>
            </a:r>
            <a:r>
              <a:rPr lang="de-DE" sz="1000"/>
              <a:t>, Christina; </a:t>
            </a:r>
            <a:r>
              <a:rPr lang="de-DE" sz="1000" err="1"/>
              <a:t>Hagspiel</a:t>
            </a:r>
            <a:r>
              <a:rPr lang="de-DE" sz="1000"/>
              <a:t>, Simeon (2015): </a:t>
            </a:r>
            <a:r>
              <a:rPr lang="de-DE" sz="1000" err="1"/>
              <a:t>Spatial</a:t>
            </a:r>
            <a:r>
              <a:rPr lang="de-DE" sz="1000"/>
              <a:t> </a:t>
            </a:r>
            <a:r>
              <a:rPr lang="de-DE" sz="1000" err="1"/>
              <a:t>dependencies</a:t>
            </a:r>
            <a:r>
              <a:rPr lang="de-DE" sz="1000"/>
              <a:t> </a:t>
            </a:r>
            <a:r>
              <a:rPr lang="de-DE" sz="1000" err="1"/>
              <a:t>of</a:t>
            </a:r>
            <a:r>
              <a:rPr lang="de-DE" sz="1000"/>
              <a:t> wind power and </a:t>
            </a:r>
            <a:r>
              <a:rPr lang="de-DE" sz="1000" err="1"/>
              <a:t>interrelations</a:t>
            </a:r>
            <a:r>
              <a:rPr lang="de-DE" sz="1000"/>
              <a:t> </a:t>
            </a:r>
            <a:r>
              <a:rPr lang="de-DE" sz="1000" err="1"/>
              <a:t>with</a:t>
            </a:r>
            <a:r>
              <a:rPr lang="de-DE" sz="1000"/>
              <a:t> </a:t>
            </a:r>
            <a:r>
              <a:rPr lang="de-DE" sz="1000" err="1"/>
              <a:t>spot</a:t>
            </a:r>
            <a:r>
              <a:rPr lang="de-DE" sz="1000"/>
              <a:t> </a:t>
            </a:r>
            <a:r>
              <a:rPr lang="de-DE" sz="1000" err="1"/>
              <a:t>price</a:t>
            </a:r>
            <a:r>
              <a:rPr lang="de-DE" sz="1000"/>
              <a:t> </a:t>
            </a:r>
            <a:r>
              <a:rPr lang="de-DE" sz="1000" err="1"/>
              <a:t>dynamics</a:t>
            </a:r>
            <a:r>
              <a:rPr lang="de-DE" sz="1000"/>
              <a:t>. In: European Journal </a:t>
            </a:r>
            <a:r>
              <a:rPr lang="de-DE" sz="1000" err="1"/>
              <a:t>of</a:t>
            </a:r>
            <a:r>
              <a:rPr lang="de-DE" sz="1000"/>
              <a:t> Operational Research 241 (1), S. 260–272.</a:t>
            </a:r>
          </a:p>
          <a:p>
            <a:pPr marL="0" indent="0">
              <a:buNone/>
            </a:pPr>
            <a:r>
              <a:rPr lang="de-DE" sz="1000"/>
              <a:t>EWI, IAEW (2020). Einführung von Power-</a:t>
            </a:r>
            <a:r>
              <a:rPr lang="de-DE" sz="1000" err="1"/>
              <a:t>to</a:t>
            </a:r>
            <a:r>
              <a:rPr lang="de-DE" sz="1000"/>
              <a:t>-Gas in Deutschland.</a:t>
            </a:r>
          </a:p>
          <a:p>
            <a:pPr marL="0" indent="0">
              <a:buNone/>
            </a:pPr>
            <a:r>
              <a:rPr lang="de-DE" sz="1000" err="1"/>
              <a:t>Glenk</a:t>
            </a:r>
            <a:r>
              <a:rPr lang="de-DE" sz="1000"/>
              <a:t>, Gunther; Reichelstein, Stefan (2019): Economics </a:t>
            </a:r>
            <a:r>
              <a:rPr lang="de-DE" sz="1000" err="1"/>
              <a:t>of</a:t>
            </a:r>
            <a:r>
              <a:rPr lang="de-DE" sz="1000"/>
              <a:t> </a:t>
            </a:r>
            <a:r>
              <a:rPr lang="de-DE" sz="1000" err="1"/>
              <a:t>converting</a:t>
            </a:r>
            <a:r>
              <a:rPr lang="de-DE" sz="1000"/>
              <a:t> </a:t>
            </a:r>
            <a:r>
              <a:rPr lang="de-DE" sz="1000" err="1"/>
              <a:t>renewable</a:t>
            </a:r>
            <a:r>
              <a:rPr lang="de-DE" sz="1000"/>
              <a:t> power </a:t>
            </a:r>
            <a:r>
              <a:rPr lang="de-DE" sz="1000" err="1"/>
              <a:t>to</a:t>
            </a:r>
            <a:r>
              <a:rPr lang="de-DE" sz="1000"/>
              <a:t> hydrogen. In: Nat Energy 4 (3), S. 216–222. </a:t>
            </a:r>
          </a:p>
        </p:txBody>
      </p:sp>
    </p:spTree>
    <p:extLst>
      <p:ext uri="{BB962C8B-B14F-4D97-AF65-F5344CB8AC3E}">
        <p14:creationId xmlns:p14="http://schemas.microsoft.com/office/powerpoint/2010/main" val="6138261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26B75A6-7AC1-40C4-AF45-69F9CDA37C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26B75A6-7AC1-40C4-AF45-69F9CDA37C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1DE70E8-6E87-4BE2-B663-BD3C775F6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eference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BF77EAB-12DF-45CD-8C01-25E0F58A58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8774"/>
            <a:ext cx="10515600" cy="4537075"/>
          </a:xfrm>
        </p:spPr>
        <p:txBody>
          <a:bodyPr/>
          <a:lstStyle/>
          <a:p>
            <a:pPr marL="0" indent="0">
              <a:buNone/>
            </a:pPr>
            <a:r>
              <a:rPr lang="de-DE" sz="1000" err="1"/>
              <a:t>Glenk</a:t>
            </a:r>
            <a:r>
              <a:rPr lang="de-DE" sz="1000"/>
              <a:t>, Gunther; Reichelstein, Stefan (2020): </a:t>
            </a:r>
            <a:r>
              <a:rPr lang="de-DE" sz="1000" err="1"/>
              <a:t>Synergistic</a:t>
            </a:r>
            <a:r>
              <a:rPr lang="de-DE" sz="1000"/>
              <a:t> Value in </a:t>
            </a:r>
            <a:r>
              <a:rPr lang="de-DE" sz="1000" err="1"/>
              <a:t>Vertically</a:t>
            </a:r>
            <a:r>
              <a:rPr lang="de-DE" sz="1000"/>
              <a:t> Integrated Power‐</a:t>
            </a:r>
            <a:r>
              <a:rPr lang="de-DE" sz="1000" err="1"/>
              <a:t>to</a:t>
            </a:r>
            <a:r>
              <a:rPr lang="de-DE" sz="1000"/>
              <a:t>‐Gas Energy Systems. In: </a:t>
            </a:r>
            <a:r>
              <a:rPr lang="de-DE" sz="1000" err="1"/>
              <a:t>Prod</a:t>
            </a:r>
            <a:r>
              <a:rPr lang="de-DE" sz="1000"/>
              <a:t> Oper </a:t>
            </a:r>
            <a:r>
              <a:rPr lang="de-DE" sz="1000" err="1"/>
              <a:t>Manag</a:t>
            </a:r>
            <a:r>
              <a:rPr lang="de-DE" sz="1000"/>
              <a:t> 29 (3), S. 526–546.</a:t>
            </a:r>
          </a:p>
          <a:p>
            <a:pPr marL="0" indent="0">
              <a:buNone/>
            </a:pPr>
            <a:r>
              <a:rPr lang="de-DE" sz="1000"/>
              <a:t>Hagemann, Simon (2013): Price </a:t>
            </a:r>
            <a:r>
              <a:rPr lang="de-DE" sz="1000" err="1"/>
              <a:t>Determinants</a:t>
            </a:r>
            <a:r>
              <a:rPr lang="de-DE" sz="1000"/>
              <a:t> in </a:t>
            </a:r>
            <a:r>
              <a:rPr lang="de-DE" sz="1000" err="1"/>
              <a:t>the</a:t>
            </a:r>
            <a:r>
              <a:rPr lang="de-DE" sz="1000"/>
              <a:t> German Intraday Market </a:t>
            </a:r>
            <a:r>
              <a:rPr lang="de-DE" sz="1000" err="1"/>
              <a:t>for</a:t>
            </a:r>
            <a:r>
              <a:rPr lang="de-DE" sz="1000"/>
              <a:t> </a:t>
            </a:r>
            <a:r>
              <a:rPr lang="de-DE" sz="1000" err="1"/>
              <a:t>Electricity</a:t>
            </a:r>
            <a:r>
              <a:rPr lang="de-DE" sz="1000"/>
              <a:t>: An </a:t>
            </a:r>
            <a:r>
              <a:rPr lang="de-DE" sz="1000" err="1"/>
              <a:t>Empirical</a:t>
            </a:r>
            <a:r>
              <a:rPr lang="de-DE" sz="1000"/>
              <a:t> Analysis. In: SSRN Journal.</a:t>
            </a:r>
          </a:p>
          <a:p>
            <a:pPr marL="0" indent="0">
              <a:buNone/>
            </a:pPr>
            <a:r>
              <a:rPr lang="de-DE" sz="1000"/>
              <a:t>IEA. (2019). The Future </a:t>
            </a:r>
            <a:r>
              <a:rPr lang="de-DE" sz="1000" err="1"/>
              <a:t>of</a:t>
            </a:r>
            <a:r>
              <a:rPr lang="de-DE" sz="1000"/>
              <a:t> Hydrogen - </a:t>
            </a:r>
            <a:r>
              <a:rPr lang="de-DE" sz="1000" err="1"/>
              <a:t>Seizing</a:t>
            </a:r>
            <a:r>
              <a:rPr lang="de-DE" sz="1000"/>
              <a:t> </a:t>
            </a:r>
            <a:r>
              <a:rPr lang="de-DE" sz="1000" err="1"/>
              <a:t>today’s</a:t>
            </a:r>
            <a:r>
              <a:rPr lang="de-DE" sz="1000"/>
              <a:t> </a:t>
            </a:r>
            <a:r>
              <a:rPr lang="de-DE" sz="1000" err="1"/>
              <a:t>opportunities</a:t>
            </a:r>
            <a:r>
              <a:rPr lang="de-DE" sz="1000"/>
              <a:t>. Report </a:t>
            </a:r>
            <a:r>
              <a:rPr lang="de-DE" sz="1000" err="1"/>
              <a:t>Prepared</a:t>
            </a:r>
            <a:r>
              <a:rPr lang="de-DE" sz="1000"/>
              <a:t> </a:t>
            </a:r>
            <a:r>
              <a:rPr lang="de-DE" sz="1000" err="1"/>
              <a:t>by</a:t>
            </a:r>
            <a:r>
              <a:rPr lang="de-DE" sz="1000"/>
              <a:t> </a:t>
            </a:r>
            <a:r>
              <a:rPr lang="de-DE" sz="1000" err="1"/>
              <a:t>the</a:t>
            </a:r>
            <a:r>
              <a:rPr lang="de-DE" sz="1000"/>
              <a:t> IEA </a:t>
            </a:r>
            <a:r>
              <a:rPr lang="de-DE" sz="1000" err="1"/>
              <a:t>for</a:t>
            </a:r>
            <a:r>
              <a:rPr lang="de-DE" sz="1000"/>
              <a:t> </a:t>
            </a:r>
            <a:r>
              <a:rPr lang="de-DE" sz="1000" err="1"/>
              <a:t>the</a:t>
            </a:r>
            <a:r>
              <a:rPr lang="de-DE" sz="1000"/>
              <a:t> G20, Japan, (June). </a:t>
            </a:r>
          </a:p>
          <a:p>
            <a:pPr marL="0" indent="0">
              <a:buNone/>
            </a:pPr>
            <a:r>
              <a:rPr lang="de-DE" sz="1000"/>
              <a:t>Kopp, M.; Coleman, D.; Stiller, C.; Scheffer, K.; Aichinger, J.; </a:t>
            </a:r>
            <a:r>
              <a:rPr lang="de-DE" sz="1000" err="1"/>
              <a:t>Scheppat</a:t>
            </a:r>
            <a:r>
              <a:rPr lang="de-DE" sz="1000"/>
              <a:t>, B. (2017): Energiepark Mainz: Technical and </a:t>
            </a:r>
            <a:r>
              <a:rPr lang="de-DE" sz="1000" err="1"/>
              <a:t>economic</a:t>
            </a:r>
            <a:r>
              <a:rPr lang="de-DE" sz="1000"/>
              <a:t> </a:t>
            </a:r>
            <a:r>
              <a:rPr lang="de-DE" sz="1000" err="1"/>
              <a:t>analysis</a:t>
            </a:r>
            <a:r>
              <a:rPr lang="de-DE" sz="1000"/>
              <a:t> </a:t>
            </a:r>
            <a:r>
              <a:rPr lang="de-DE" sz="1000" err="1"/>
              <a:t>of</a:t>
            </a:r>
            <a:r>
              <a:rPr lang="de-DE" sz="1000"/>
              <a:t> </a:t>
            </a:r>
            <a:r>
              <a:rPr lang="de-DE" sz="1000" err="1"/>
              <a:t>the</a:t>
            </a:r>
            <a:r>
              <a:rPr lang="de-DE" sz="1000"/>
              <a:t> </a:t>
            </a:r>
            <a:r>
              <a:rPr lang="de-DE" sz="1000" err="1"/>
              <a:t>worldwide</a:t>
            </a:r>
            <a:r>
              <a:rPr lang="de-DE" sz="1000"/>
              <a:t> </a:t>
            </a:r>
            <a:r>
              <a:rPr lang="de-DE" sz="1000" err="1"/>
              <a:t>largest</a:t>
            </a:r>
            <a:r>
              <a:rPr lang="de-DE" sz="1000"/>
              <a:t> Power-</a:t>
            </a:r>
            <a:r>
              <a:rPr lang="de-DE" sz="1000" err="1"/>
              <a:t>to</a:t>
            </a:r>
            <a:r>
              <a:rPr lang="de-DE" sz="1000"/>
              <a:t>-Gas plant </a:t>
            </a:r>
            <a:r>
              <a:rPr lang="de-DE" sz="1000" err="1"/>
              <a:t>with</a:t>
            </a:r>
            <a:r>
              <a:rPr lang="de-DE" sz="1000"/>
              <a:t> PEM </a:t>
            </a:r>
            <a:r>
              <a:rPr lang="de-DE" sz="1000" err="1"/>
              <a:t>electrolysis</a:t>
            </a:r>
            <a:r>
              <a:rPr lang="de-DE" sz="1000"/>
              <a:t>. In: International Journal </a:t>
            </a:r>
            <a:r>
              <a:rPr lang="de-DE" sz="1000" err="1"/>
              <a:t>of</a:t>
            </a:r>
            <a:r>
              <a:rPr lang="de-DE" sz="1000"/>
              <a:t> Hydrogen Energy 42 (19), S. 13311–13320. </a:t>
            </a:r>
          </a:p>
          <a:p>
            <a:pPr marL="0" indent="0">
              <a:buNone/>
            </a:pPr>
            <a:r>
              <a:rPr lang="de-DE" sz="1000" err="1"/>
              <a:t>Kulakov</a:t>
            </a:r>
            <a:r>
              <a:rPr lang="de-DE" sz="1000"/>
              <a:t>, Sergei; Ziel, Florian (2021): The Impact </a:t>
            </a:r>
            <a:r>
              <a:rPr lang="de-DE" sz="1000" err="1"/>
              <a:t>of</a:t>
            </a:r>
            <a:r>
              <a:rPr lang="de-DE" sz="1000"/>
              <a:t> </a:t>
            </a:r>
            <a:r>
              <a:rPr lang="de-DE" sz="1000" err="1"/>
              <a:t>Renewable</a:t>
            </a:r>
            <a:r>
              <a:rPr lang="de-DE" sz="1000"/>
              <a:t> Energy Forecasts on Intraday </a:t>
            </a:r>
            <a:r>
              <a:rPr lang="de-DE" sz="1000" err="1"/>
              <a:t>Electricity</a:t>
            </a:r>
            <a:r>
              <a:rPr lang="de-DE" sz="1000"/>
              <a:t> Prices. In: EEEP 10 (1). </a:t>
            </a:r>
          </a:p>
          <a:p>
            <a:pPr marL="0" indent="0">
              <a:buNone/>
            </a:pPr>
            <a:r>
              <a:rPr lang="de-DE" sz="1000" err="1"/>
              <a:t>Papaefthymiou</a:t>
            </a:r>
            <a:r>
              <a:rPr lang="de-DE" sz="1000"/>
              <a:t>, G.; </a:t>
            </a:r>
            <a:r>
              <a:rPr lang="de-DE" sz="1000" err="1"/>
              <a:t>Klockl</a:t>
            </a:r>
            <a:r>
              <a:rPr lang="de-DE" sz="1000"/>
              <a:t>, B. (2008): MCMC </a:t>
            </a:r>
            <a:r>
              <a:rPr lang="de-DE" sz="1000" err="1"/>
              <a:t>for</a:t>
            </a:r>
            <a:r>
              <a:rPr lang="de-DE" sz="1000"/>
              <a:t> Wind Power Simulation. In: IEEE Trans. On Energy </a:t>
            </a:r>
            <a:r>
              <a:rPr lang="de-DE" sz="1000" err="1"/>
              <a:t>Conversion</a:t>
            </a:r>
            <a:r>
              <a:rPr lang="de-DE" sz="1000"/>
              <a:t> 23 (1), S. 234–240. </a:t>
            </a:r>
            <a:r>
              <a:rPr lang="de-DE" sz="1000" err="1"/>
              <a:t>Tagliaferri</a:t>
            </a:r>
            <a:r>
              <a:rPr lang="de-DE" sz="1000"/>
              <a:t>, F.; Hayes, B. P.; Viola, I. M.; </a:t>
            </a:r>
            <a:r>
              <a:rPr lang="de-DE" sz="1000" err="1"/>
              <a:t>Djokić</a:t>
            </a:r>
            <a:r>
              <a:rPr lang="de-DE" sz="1000"/>
              <a:t>, S. Z. (2016): Wind </a:t>
            </a:r>
            <a:r>
              <a:rPr lang="de-DE" sz="1000" err="1"/>
              <a:t>modelling</a:t>
            </a:r>
            <a:r>
              <a:rPr lang="de-DE" sz="1000"/>
              <a:t> </a:t>
            </a:r>
            <a:r>
              <a:rPr lang="de-DE" sz="1000" err="1"/>
              <a:t>with</a:t>
            </a:r>
            <a:r>
              <a:rPr lang="de-DE" sz="1000"/>
              <a:t> </a:t>
            </a:r>
            <a:r>
              <a:rPr lang="de-DE" sz="1000" err="1"/>
              <a:t>nested</a:t>
            </a:r>
            <a:r>
              <a:rPr lang="de-DE" sz="1000"/>
              <a:t> Markov </a:t>
            </a:r>
            <a:r>
              <a:rPr lang="de-DE" sz="1000" err="1"/>
              <a:t>chains</a:t>
            </a:r>
            <a:r>
              <a:rPr lang="de-DE" sz="1000"/>
              <a:t>. In: Journal </a:t>
            </a:r>
            <a:r>
              <a:rPr lang="de-DE" sz="1000" err="1"/>
              <a:t>of</a:t>
            </a:r>
            <a:r>
              <a:rPr lang="de-DE" sz="1000"/>
              <a:t> Wind Engineering and Industrial </a:t>
            </a:r>
            <a:r>
              <a:rPr lang="de-DE" sz="1000" err="1"/>
              <a:t>Aerodynamics</a:t>
            </a:r>
            <a:r>
              <a:rPr lang="de-DE" sz="1000"/>
              <a:t> 157, S. 118–124. </a:t>
            </a:r>
          </a:p>
          <a:p>
            <a:pPr marL="0" indent="0">
              <a:buNone/>
            </a:pPr>
            <a:r>
              <a:rPr lang="de-DE" sz="1000"/>
              <a:t>Pape, Christian; Hagemann, Simon; Weber, Christoph (2016): Are </a:t>
            </a:r>
            <a:r>
              <a:rPr lang="de-DE" sz="1000" err="1"/>
              <a:t>fundamentals</a:t>
            </a:r>
            <a:r>
              <a:rPr lang="de-DE" sz="1000"/>
              <a:t> </a:t>
            </a:r>
            <a:r>
              <a:rPr lang="de-DE" sz="1000" err="1"/>
              <a:t>enough</a:t>
            </a:r>
            <a:r>
              <a:rPr lang="de-DE" sz="1000"/>
              <a:t>? </a:t>
            </a:r>
            <a:r>
              <a:rPr lang="de-DE" sz="1000" err="1"/>
              <a:t>Explaining</a:t>
            </a:r>
            <a:r>
              <a:rPr lang="de-DE" sz="1000"/>
              <a:t> </a:t>
            </a:r>
            <a:r>
              <a:rPr lang="de-DE" sz="1000" err="1"/>
              <a:t>price</a:t>
            </a:r>
            <a:r>
              <a:rPr lang="de-DE" sz="1000"/>
              <a:t> </a:t>
            </a:r>
            <a:r>
              <a:rPr lang="de-DE" sz="1000" err="1"/>
              <a:t>variations</a:t>
            </a:r>
            <a:r>
              <a:rPr lang="de-DE" sz="1000"/>
              <a:t> in </a:t>
            </a:r>
            <a:r>
              <a:rPr lang="de-DE" sz="1000" err="1"/>
              <a:t>the</a:t>
            </a:r>
            <a:r>
              <a:rPr lang="de-DE" sz="1000"/>
              <a:t> German </a:t>
            </a:r>
            <a:r>
              <a:rPr lang="de-DE" sz="1000" err="1"/>
              <a:t>day-ahead</a:t>
            </a:r>
            <a:r>
              <a:rPr lang="de-DE" sz="1000"/>
              <a:t> and </a:t>
            </a:r>
            <a:r>
              <a:rPr lang="de-DE" sz="1000" err="1"/>
              <a:t>intraday</a:t>
            </a:r>
            <a:r>
              <a:rPr lang="de-DE" sz="1000"/>
              <a:t> power </a:t>
            </a:r>
            <a:r>
              <a:rPr lang="de-DE" sz="1000" err="1"/>
              <a:t>market</a:t>
            </a:r>
            <a:r>
              <a:rPr lang="de-DE" sz="1000"/>
              <a:t>. In: Energy Economics 54 (3), S. 376–387. </a:t>
            </a:r>
          </a:p>
          <a:p>
            <a:pPr marL="0" indent="0">
              <a:buNone/>
            </a:pPr>
            <a:r>
              <a:rPr lang="de-DE" sz="1000"/>
              <a:t>van Leeuwen, Charlotte; Mulder, </a:t>
            </a:r>
            <a:r>
              <a:rPr lang="de-DE" sz="1000" err="1"/>
              <a:t>Machiel</a:t>
            </a:r>
            <a:r>
              <a:rPr lang="de-DE" sz="1000"/>
              <a:t> (2018): Power-</a:t>
            </a:r>
            <a:r>
              <a:rPr lang="de-DE" sz="1000" err="1"/>
              <a:t>to</a:t>
            </a:r>
            <a:r>
              <a:rPr lang="de-DE" sz="1000"/>
              <a:t>-gas in </a:t>
            </a:r>
            <a:r>
              <a:rPr lang="de-DE" sz="1000" err="1"/>
              <a:t>electricity</a:t>
            </a:r>
            <a:r>
              <a:rPr lang="de-DE" sz="1000"/>
              <a:t> </a:t>
            </a:r>
            <a:r>
              <a:rPr lang="de-DE" sz="1000" err="1"/>
              <a:t>markets</a:t>
            </a:r>
            <a:r>
              <a:rPr lang="de-DE" sz="1000"/>
              <a:t> </a:t>
            </a:r>
            <a:r>
              <a:rPr lang="de-DE" sz="1000" err="1"/>
              <a:t>dominated</a:t>
            </a:r>
            <a:r>
              <a:rPr lang="de-DE" sz="1000"/>
              <a:t> </a:t>
            </a:r>
            <a:r>
              <a:rPr lang="de-DE" sz="1000" err="1"/>
              <a:t>by</a:t>
            </a:r>
            <a:r>
              <a:rPr lang="de-DE" sz="1000"/>
              <a:t> </a:t>
            </a:r>
            <a:r>
              <a:rPr lang="de-DE" sz="1000" err="1"/>
              <a:t>renewables</a:t>
            </a:r>
            <a:r>
              <a:rPr lang="de-DE" sz="1000"/>
              <a:t>. In: Applied Energy 232, S. 258–272. </a:t>
            </a:r>
          </a:p>
          <a:p>
            <a:pPr marL="0" indent="0">
              <a:buNone/>
            </a:pPr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1577847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2A424-7F69-403D-BCA4-E70958FBD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err="1">
                <a:latin typeface="Arial"/>
                <a:cs typeface="Arial"/>
              </a:rPr>
              <a:t>Electrolyzer</a:t>
            </a:r>
            <a:r>
              <a:rPr lang="en-US">
                <a:latin typeface="Arial"/>
                <a:cs typeface="Arial"/>
              </a:rPr>
              <a:t> assumptions</a:t>
            </a:r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B61B61F1-F2EE-4980-9DC3-7059C90299C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7087853"/>
              </p:ext>
            </p:extLst>
          </p:nvPr>
        </p:nvGraphicFramePr>
        <p:xfrm>
          <a:off x="838200" y="1628775"/>
          <a:ext cx="10515600" cy="4079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1439593667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920620614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3322080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Param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imen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4646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Hydrogen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2.5 [75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EUR/kg [EUR/</a:t>
                      </a:r>
                      <a:r>
                        <a:rPr lang="en-US" sz="1600" err="1"/>
                        <a:t>MWhth</a:t>
                      </a:r>
                      <a:r>
                        <a:rPr lang="en-US" sz="1600"/>
                        <a:t>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8287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Production capa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MWel</a:t>
                      </a:r>
                      <a:endParaRPr lang="en-US" sz="16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6850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Ram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%cap/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8834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Minimal Lo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% of installed capac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215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CAPEX (PEM electrolysi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8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EUR/kWel</a:t>
                      </a:r>
                      <a:endParaRPr lang="en-US" sz="16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1315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Life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yea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4226483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/>
                        <a:t>Fixed O&amp;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/>
                        <a:t>0.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/>
                        <a:t>% of total Inve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4283310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/>
                        <a:t>Efficiency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i="1"/>
                        <a:t>Input-Output funct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7123482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/>
                        <a:t>RES/Electrolyzer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/>
                        <a:t>1: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/>
                        <a:t>-/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1042498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/>
                        <a:t>Interest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/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035016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A9626CC-DE28-4680-96A2-4EEEBE921644}"/>
              </a:ext>
            </a:extLst>
          </p:cNvPr>
          <p:cNvSpPr txBox="1"/>
          <p:nvPr/>
        </p:nvSpPr>
        <p:spPr>
          <a:xfrm>
            <a:off x="7497454" y="6165850"/>
            <a:ext cx="4479401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cs typeface="Calibri"/>
              </a:rPr>
              <a:t>Lower heating value (= 33,3 kWh/kg) used for conversions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438D27FF-055D-4EE4-8B12-D14E0A1F6E7C}"/>
              </a:ext>
            </a:extLst>
          </p:cNvPr>
          <p:cNvSpPr txBox="1"/>
          <p:nvPr/>
        </p:nvSpPr>
        <p:spPr>
          <a:xfrm>
            <a:off x="838200" y="6181815"/>
            <a:ext cx="4479401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cs typeface="Calibri"/>
              </a:rPr>
              <a:t>Source: </a:t>
            </a:r>
            <a:r>
              <a:rPr lang="en-US" sz="900" err="1">
                <a:cs typeface="Calibri"/>
              </a:rPr>
              <a:t>dena</a:t>
            </a:r>
            <a:r>
              <a:rPr lang="en-US" sz="900">
                <a:cs typeface="Calibri"/>
              </a:rPr>
              <a:t> (2018), IEA (2019), Kopp et al. (2017), </a:t>
            </a:r>
            <a:r>
              <a:rPr lang="en-US" sz="900" err="1">
                <a:cs typeface="Calibri"/>
              </a:rPr>
              <a:t>Glenk</a:t>
            </a:r>
            <a:r>
              <a:rPr lang="en-US" sz="900">
                <a:cs typeface="Calibri"/>
              </a:rPr>
              <a:t> et al. (2020)</a:t>
            </a:r>
          </a:p>
        </p:txBody>
      </p:sp>
    </p:spTree>
    <p:extLst>
      <p:ext uri="{BB962C8B-B14F-4D97-AF65-F5344CB8AC3E}">
        <p14:creationId xmlns:p14="http://schemas.microsoft.com/office/powerpoint/2010/main" val="16752218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2A424-7F69-403D-BCA4-E70958FBD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err="1">
                <a:latin typeface="Arial"/>
                <a:cs typeface="Arial"/>
              </a:rPr>
              <a:t>Electrolyzer</a:t>
            </a:r>
            <a:r>
              <a:rPr lang="en-US">
                <a:latin typeface="Arial"/>
                <a:cs typeface="Arial"/>
              </a:rPr>
              <a:t> assumptions</a:t>
            </a:r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B61B61F1-F2EE-4980-9DC3-7059C90299C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4629872"/>
              </p:ext>
            </p:extLst>
          </p:nvPr>
        </p:nvGraphicFramePr>
        <p:xfrm>
          <a:off x="838200" y="1111853"/>
          <a:ext cx="10515600" cy="243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0433">
                  <a:extLst>
                    <a:ext uri="{9D8B030D-6E8A-4147-A177-3AD203B41FA5}">
                      <a16:colId xmlns:a16="http://schemas.microsoft.com/office/drawing/2014/main" val="1439593667"/>
                    </a:ext>
                  </a:extLst>
                </a:gridCol>
                <a:gridCol w="3249967">
                  <a:extLst>
                    <a:ext uri="{9D8B030D-6E8A-4147-A177-3AD203B41FA5}">
                      <a16:colId xmlns:a16="http://schemas.microsoft.com/office/drawing/2014/main" val="920620614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3322080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Param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imen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4646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i="1"/>
                        <a:t>Sum electricity price surcharges (high/ low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i="1"/>
                        <a:t>25.26 / 2.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i="1"/>
                        <a:t>EUR/M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8287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/>
                      <a:r>
                        <a:rPr lang="en-US" sz="1600"/>
                        <a:t>Electricity t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5.37 / 1.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EUR/M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6850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/>
                      <a:r>
                        <a:rPr lang="en-US" sz="1600"/>
                        <a:t>EEG surch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0 /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EUR/M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8834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/>
                      <a:r>
                        <a:rPr lang="en-US" sz="1600"/>
                        <a:t>Grid f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0 / 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EUR/M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215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1"/>
                      <a:r>
                        <a:rPr lang="en-US" sz="1600"/>
                        <a:t>Other surcharges (KWKG, Concession fee, §19 </a:t>
                      </a:r>
                      <a:r>
                        <a:rPr lang="en-US" sz="1600" err="1"/>
                        <a:t>StromNEV</a:t>
                      </a:r>
                      <a:r>
                        <a:rPr lang="en-US" sz="1600"/>
                        <a:t>, etc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9.89 / 0.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EUR/M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131504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A9626CC-DE28-4680-96A2-4EEEBE921644}"/>
              </a:ext>
            </a:extLst>
          </p:cNvPr>
          <p:cNvSpPr txBox="1"/>
          <p:nvPr/>
        </p:nvSpPr>
        <p:spPr>
          <a:xfrm>
            <a:off x="838200" y="6181815"/>
            <a:ext cx="5593422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cs typeface="Calibri"/>
              </a:rPr>
              <a:t>Source: </a:t>
            </a:r>
            <a:r>
              <a:rPr lang="en-US" sz="900" err="1">
                <a:cs typeface="Calibri"/>
              </a:rPr>
              <a:t>dena</a:t>
            </a:r>
            <a:r>
              <a:rPr lang="en-US" sz="900">
                <a:cs typeface="Calibri"/>
              </a:rPr>
              <a:t> (2018), EWI/IAEW (2020), </a:t>
            </a:r>
            <a:r>
              <a:rPr lang="en-US" sz="900" err="1">
                <a:cs typeface="Calibri"/>
              </a:rPr>
              <a:t>bdew</a:t>
            </a:r>
            <a:r>
              <a:rPr lang="en-US" sz="900">
                <a:cs typeface="Calibri"/>
              </a:rPr>
              <a:t> </a:t>
            </a:r>
            <a:r>
              <a:rPr lang="en-US" sz="900" err="1">
                <a:cs typeface="Calibri"/>
              </a:rPr>
              <a:t>Strompreisanalyse</a:t>
            </a:r>
            <a:r>
              <a:rPr lang="en-US" sz="900">
                <a:cs typeface="Calibri"/>
              </a:rPr>
              <a:t> (2020), Industry expertise,  own assumptions</a:t>
            </a:r>
          </a:p>
        </p:txBody>
      </p:sp>
    </p:spTree>
    <p:extLst>
      <p:ext uri="{BB962C8B-B14F-4D97-AF65-F5344CB8AC3E}">
        <p14:creationId xmlns:p14="http://schemas.microsoft.com/office/powerpoint/2010/main" val="21063952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9B55DE-0F11-47BA-BFF2-515BD50ED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gression: 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593935-54CD-4256-B4C4-CD10D62157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514013" cy="4351338"/>
          </a:xfrm>
        </p:spPr>
        <p:txBody>
          <a:bodyPr/>
          <a:lstStyle/>
          <a:p>
            <a:pPr marL="0" indent="0">
              <a:buNone/>
            </a:pPr>
            <a:r>
              <a:rPr lang="de-DE" sz="1200" err="1"/>
              <a:t>Coefficients</a:t>
            </a:r>
            <a:r>
              <a:rPr lang="de-DE" sz="1200"/>
              <a:t>:</a:t>
            </a:r>
          </a:p>
          <a:p>
            <a:pPr marL="0" indent="0">
              <a:buNone/>
            </a:pPr>
            <a:r>
              <a:rPr lang="de-DE" sz="1200"/>
              <a:t>───────────────────────────────────────────────────────────────────────────────────────</a:t>
            </a:r>
          </a:p>
          <a:p>
            <a:pPr marL="0" indent="0">
              <a:buNone/>
            </a:pPr>
            <a:r>
              <a:rPr lang="de-DE" sz="1200"/>
              <a:t>                        	</a:t>
            </a:r>
            <a:r>
              <a:rPr lang="de-DE" sz="1200" err="1"/>
              <a:t>Coef</a:t>
            </a:r>
            <a:r>
              <a:rPr lang="de-DE" sz="1200"/>
              <a:t>. 	Std. Error	t  	Pr(&gt;|t|)	Lower 95%	Upper 95%</a:t>
            </a:r>
          </a:p>
          <a:p>
            <a:pPr marL="0" indent="0">
              <a:buNone/>
            </a:pPr>
            <a:r>
              <a:rPr lang="de-DE" sz="1200"/>
              <a:t>───────────────────────────────────────────────────────────────────────────────────────</a:t>
            </a:r>
          </a:p>
          <a:p>
            <a:pPr marL="0" indent="0">
              <a:buNone/>
            </a:pPr>
            <a:r>
              <a:rPr lang="de-DE" sz="1200"/>
              <a:t>(</a:t>
            </a:r>
            <a:r>
              <a:rPr lang="de-DE" sz="1200" err="1"/>
              <a:t>Intercept</a:t>
            </a:r>
            <a:r>
              <a:rPr lang="de-DE" sz="1200"/>
              <a:t>)      	-64.107  	2.03352	-31.53	&lt;1e-99	-68.0992	-60.1149</a:t>
            </a:r>
          </a:p>
          <a:p>
            <a:pPr marL="0" indent="0">
              <a:buNone/>
            </a:pPr>
            <a:r>
              <a:rPr lang="de-DE" sz="1200" err="1"/>
              <a:t>Residual_Load</a:t>
            </a:r>
            <a:r>
              <a:rPr lang="de-DE" sz="1200"/>
              <a:t>      	7.62332 	0.201495	37.83	&lt;1e-99 	7.22775	8.01889</a:t>
            </a:r>
          </a:p>
          <a:p>
            <a:pPr marL="0" indent="0">
              <a:buNone/>
            </a:pPr>
            <a:r>
              <a:rPr lang="de-DE" sz="1200"/>
              <a:t>Residual_Load_2   	-0.17812	0.0059662	-29.85	&lt;1e-99	-0.189832	-0.166407</a:t>
            </a:r>
          </a:p>
          <a:p>
            <a:pPr marL="0" indent="0">
              <a:buNone/>
            </a:pPr>
            <a:r>
              <a:rPr lang="de-DE" sz="1200"/>
              <a:t>Residual_Load_3   	 0.00150613 5.35585e-5	28.12	&lt;1e-99	 0.00140099	0.00161128</a:t>
            </a:r>
          </a:p>
          <a:p>
            <a:pPr marL="0" indent="0">
              <a:buNone/>
            </a:pPr>
            <a:r>
              <a:rPr lang="de-DE" sz="1200"/>
              <a:t>───────────────────────────────────────────────────────────────────────────────────────</a:t>
            </a:r>
          </a:p>
        </p:txBody>
      </p:sp>
    </p:spTree>
    <p:extLst>
      <p:ext uri="{BB962C8B-B14F-4D97-AF65-F5344CB8AC3E}">
        <p14:creationId xmlns:p14="http://schemas.microsoft.com/office/powerpoint/2010/main" val="29858970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9B55DE-0F11-47BA-BFF2-515BD50ED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gression: I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593935-54CD-4256-B4C4-CD10D62157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514013" cy="4351338"/>
          </a:xfrm>
        </p:spPr>
        <p:txBody>
          <a:bodyPr/>
          <a:lstStyle/>
          <a:p>
            <a:pPr marL="0" indent="0">
              <a:buNone/>
            </a:pPr>
            <a:r>
              <a:rPr lang="de-DE" sz="1200" dirty="0" err="1"/>
              <a:t>Coefficients</a:t>
            </a:r>
            <a:r>
              <a:rPr lang="de-DE" sz="1200" dirty="0"/>
              <a:t>:</a:t>
            </a:r>
          </a:p>
          <a:p>
            <a:pPr marL="0" indent="0">
              <a:buNone/>
            </a:pPr>
            <a:r>
              <a:rPr lang="de-DE" sz="1200" dirty="0"/>
              <a:t>─────────────────────────────────────────────────────────────────────────────────────────────</a:t>
            </a:r>
          </a:p>
          <a:p>
            <a:pPr marL="0" indent="0">
              <a:buNone/>
            </a:pPr>
            <a:r>
              <a:rPr lang="de-DE" sz="1200" dirty="0"/>
              <a:t>                                	</a:t>
            </a:r>
            <a:r>
              <a:rPr lang="de-DE" sz="1200" dirty="0" err="1"/>
              <a:t>Coef</a:t>
            </a:r>
            <a:r>
              <a:rPr lang="de-DE" sz="1200" dirty="0"/>
              <a:t>.  	Std. Error       t  	Pr(&gt;|t|)    	Lower 95%    Upper 95%</a:t>
            </a:r>
          </a:p>
          <a:p>
            <a:pPr marL="0" indent="0">
              <a:buNone/>
            </a:pPr>
            <a:r>
              <a:rPr lang="de-DE" sz="1200" dirty="0"/>
              <a:t>─────────────────────────────────────────────────────────────────────────────────────────────</a:t>
            </a:r>
          </a:p>
          <a:p>
            <a:pPr marL="0" indent="0">
              <a:buNone/>
            </a:pPr>
            <a:r>
              <a:rPr lang="de-DE" sz="1200" dirty="0"/>
              <a:t>(</a:t>
            </a:r>
            <a:r>
              <a:rPr lang="de-DE" sz="1200" dirty="0" err="1"/>
              <a:t>Intercept</a:t>
            </a:r>
            <a:r>
              <a:rPr lang="de-DE" sz="1200" dirty="0"/>
              <a:t>)                	0.742606    	0.240706      	3.09    	0.0020   	0.270766    	1.21445</a:t>
            </a:r>
          </a:p>
          <a:p>
            <a:pPr marL="0" indent="0">
              <a:buNone/>
            </a:pPr>
            <a:r>
              <a:rPr lang="de-DE" sz="1200" dirty="0" err="1"/>
              <a:t>DA_Prices</a:t>
            </a:r>
            <a:r>
              <a:rPr lang="de-DE" sz="1200" dirty="0"/>
              <a:t>                  	0.994502    	0.00575012  	172.95    	&lt;1e-99   	0.98323      	1.00577</a:t>
            </a:r>
          </a:p>
          <a:p>
            <a:pPr marL="0" indent="0">
              <a:buNone/>
            </a:pPr>
            <a:r>
              <a:rPr lang="de-DE" sz="1200" dirty="0" err="1"/>
              <a:t>forcastErrorSupplyTech</a:t>
            </a:r>
            <a:r>
              <a:rPr lang="de-DE" sz="1200" dirty="0"/>
              <a:t>    	-0.0018895   	6.1279e-5   	-30.83    	&lt;1e-99  	-0.00200962	-0.00176938</a:t>
            </a:r>
          </a:p>
          <a:p>
            <a:pPr marL="0" indent="0">
              <a:buNone/>
            </a:pPr>
            <a:r>
              <a:rPr lang="de-DE" sz="1200" dirty="0"/>
              <a:t>forcastErrorSupplyTech_2  -7.22961e-8	1.82997e-8   	-3.95    	&lt;1e-4   	-1.08168e-7  	-3.64244e-8</a:t>
            </a:r>
          </a:p>
          <a:p>
            <a:pPr marL="0" indent="0">
              <a:buNone/>
            </a:pPr>
            <a:r>
              <a:rPr lang="de-DE" sz="1200" dirty="0"/>
              <a:t>─────────────────────────────────────────────────────────────────────────────────────────────</a:t>
            </a:r>
          </a:p>
        </p:txBody>
      </p:sp>
    </p:spTree>
    <p:extLst>
      <p:ext uri="{BB962C8B-B14F-4D97-AF65-F5344CB8AC3E}">
        <p14:creationId xmlns:p14="http://schemas.microsoft.com/office/powerpoint/2010/main" val="1344801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12EF783-CE84-4631-9673-B659F536F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243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6" imgH="346" progId="TCLayout.ActiveDocument.1">
                  <p:embed/>
                </p:oleObj>
              </mc:Choice>
              <mc:Fallback>
                <p:oleObj name="think-cell Folie" r:id="rId3" imgW="346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12EF783-CE84-4631-9673-B659F536F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207447E-7391-4D0E-AA7C-DD119217D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39E282-F6C2-435B-B9B8-8E01BEDAC8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Motiva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err="1"/>
              <a:t>Literatur</a:t>
            </a:r>
            <a:endParaRPr lang="en-US" dirty="0"/>
          </a:p>
          <a:p>
            <a:pPr marL="514350" indent="-514350">
              <a:buFont typeface="+mj-lt"/>
              <a:buAutoNum type="arabicPeriod"/>
            </a:pPr>
            <a:r>
              <a:rPr lang="en-US" dirty="0" err="1"/>
              <a:t>Methodik</a:t>
            </a:r>
            <a:r>
              <a:rPr lang="en-US" dirty="0"/>
              <a:t> und </a:t>
            </a:r>
            <a:r>
              <a:rPr lang="en-US" dirty="0" err="1"/>
              <a:t>Systemgrenzen</a:t>
            </a:r>
            <a:endParaRPr lang="en-US" dirty="0"/>
          </a:p>
          <a:p>
            <a:pPr marL="514350" indent="-514350">
              <a:buFont typeface="+mj-lt"/>
              <a:buAutoNum type="arabicPeriod"/>
            </a:pPr>
            <a:r>
              <a:rPr lang="en-US" dirty="0" err="1"/>
              <a:t>Szenarioergebnisse</a:t>
            </a:r>
            <a:endParaRPr lang="en-US" dirty="0"/>
          </a:p>
          <a:p>
            <a:pPr marL="514350" indent="-514350">
              <a:buFont typeface="+mj-lt"/>
              <a:buAutoNum type="arabicPeriod"/>
            </a:pPr>
            <a:r>
              <a:rPr lang="en-US" dirty="0" err="1"/>
              <a:t>Einordnung</a:t>
            </a:r>
            <a:r>
              <a:rPr lang="en-US" dirty="0"/>
              <a:t> und </a:t>
            </a:r>
            <a:r>
              <a:rPr lang="en-US" dirty="0" err="1"/>
              <a:t>Ausbli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5340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E0BF3A-6AF9-4FFE-A538-15B0E98BDA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65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6" imgH="346" progId="TCLayout.ActiveDocument.1">
                  <p:embed/>
                </p:oleObj>
              </mc:Choice>
              <mc:Fallback>
                <p:oleObj name="think-cell Folie" r:id="rId3" imgW="346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E0BF3A-6AF9-4FFE-A538-15B0E98BD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CDE5768-38A9-403C-ABE9-C3A64507A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CO</a:t>
            </a:r>
            <a:r>
              <a:rPr lang="de-DE" baseline="-25000"/>
              <a:t>2</a:t>
            </a:r>
            <a:r>
              <a:rPr lang="de-DE"/>
              <a:t>-emissions </a:t>
            </a:r>
            <a:r>
              <a:rPr lang="de-DE" err="1"/>
              <a:t>of</a:t>
            </a:r>
            <a:r>
              <a:rPr lang="de-DE"/>
              <a:t> hydrogen </a:t>
            </a:r>
            <a:r>
              <a:rPr lang="de-DE" err="1"/>
              <a:t>production</a:t>
            </a:r>
            <a:r>
              <a:rPr lang="de-DE"/>
              <a:t> </a:t>
            </a:r>
            <a:r>
              <a:rPr lang="de-DE" err="1"/>
              <a:t>technologies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7C5F8F9-7F82-4670-AEF3-3B16575F69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Natural gas </a:t>
            </a:r>
            <a:r>
              <a:rPr lang="de-DE" err="1"/>
              <a:t>reforming</a:t>
            </a:r>
            <a:r>
              <a:rPr lang="de-DE"/>
              <a:t> (</a:t>
            </a:r>
            <a:r>
              <a:rPr lang="de-DE" err="1"/>
              <a:t>without</a:t>
            </a:r>
            <a:r>
              <a:rPr lang="de-DE"/>
              <a:t> CCUS):	10 kg CO</a:t>
            </a:r>
            <a:r>
              <a:rPr lang="de-DE" baseline="-25000"/>
              <a:t>2</a:t>
            </a:r>
            <a:r>
              <a:rPr lang="de-DE"/>
              <a:t>/kg H</a:t>
            </a:r>
            <a:r>
              <a:rPr lang="de-DE" baseline="-25000"/>
              <a:t>2</a:t>
            </a:r>
          </a:p>
          <a:p>
            <a:r>
              <a:rPr lang="de-DE"/>
              <a:t>Coal </a:t>
            </a:r>
            <a:r>
              <a:rPr lang="de-DE" err="1"/>
              <a:t>gasification</a:t>
            </a:r>
            <a:r>
              <a:rPr lang="de-DE"/>
              <a:t> (</a:t>
            </a:r>
            <a:r>
              <a:rPr lang="de-DE" err="1"/>
              <a:t>without</a:t>
            </a:r>
            <a:r>
              <a:rPr lang="de-DE"/>
              <a:t> CCUS):		20 kg CO</a:t>
            </a:r>
            <a:r>
              <a:rPr lang="de-DE" baseline="-25000"/>
              <a:t>2</a:t>
            </a:r>
            <a:r>
              <a:rPr lang="de-DE"/>
              <a:t>/kg H</a:t>
            </a:r>
            <a:r>
              <a:rPr lang="de-DE" baseline="-25000"/>
              <a:t>2</a:t>
            </a:r>
          </a:p>
          <a:p>
            <a:r>
              <a:rPr lang="de-DE"/>
              <a:t>Electrolysis </a:t>
            </a:r>
            <a:r>
              <a:rPr lang="de-DE" err="1"/>
              <a:t>world</a:t>
            </a:r>
            <a:r>
              <a:rPr lang="de-DE"/>
              <a:t> </a:t>
            </a:r>
            <a:r>
              <a:rPr lang="de-DE" err="1"/>
              <a:t>electricity</a:t>
            </a:r>
            <a:r>
              <a:rPr lang="de-DE"/>
              <a:t> mix:			26 kg CO</a:t>
            </a:r>
            <a:r>
              <a:rPr lang="de-DE" baseline="-25000"/>
              <a:t>2</a:t>
            </a:r>
            <a:r>
              <a:rPr lang="de-DE"/>
              <a:t>/kg H</a:t>
            </a:r>
            <a:r>
              <a:rPr lang="de-DE" baseline="-25000"/>
              <a:t>2</a:t>
            </a:r>
            <a:endParaRPr lang="de-DE"/>
          </a:p>
          <a:p>
            <a:r>
              <a:rPr lang="de-DE"/>
              <a:t>Electrolysis EU </a:t>
            </a:r>
            <a:r>
              <a:rPr lang="de-DE" err="1"/>
              <a:t>electricity</a:t>
            </a:r>
            <a:r>
              <a:rPr lang="de-DE"/>
              <a:t> mix:			18 kg CO</a:t>
            </a:r>
            <a:r>
              <a:rPr lang="de-DE" baseline="-25000"/>
              <a:t>2</a:t>
            </a:r>
            <a:r>
              <a:rPr lang="de-DE"/>
              <a:t>/kg H</a:t>
            </a:r>
            <a:r>
              <a:rPr lang="de-DE" baseline="-25000"/>
              <a:t>2</a:t>
            </a:r>
            <a:endParaRPr lang="de-DE"/>
          </a:p>
          <a:p>
            <a:r>
              <a:rPr lang="de-DE"/>
              <a:t>Electrolysis Germany </a:t>
            </a:r>
            <a:r>
              <a:rPr lang="de-DE" err="1"/>
              <a:t>electricity</a:t>
            </a:r>
            <a:r>
              <a:rPr lang="de-DE"/>
              <a:t> mix:		26 kg CO</a:t>
            </a:r>
            <a:r>
              <a:rPr lang="de-DE" baseline="-25000"/>
              <a:t>2</a:t>
            </a:r>
            <a:r>
              <a:rPr lang="de-DE"/>
              <a:t>/kg H</a:t>
            </a:r>
            <a:r>
              <a:rPr lang="de-DE" baseline="-25000"/>
              <a:t>2</a:t>
            </a:r>
            <a:endParaRPr lang="de-DE"/>
          </a:p>
          <a:p>
            <a:endParaRPr lang="de-DE" baseline="-25000"/>
          </a:p>
          <a:p>
            <a:endParaRPr lang="de-DE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A70EDCA5-41F3-4DC7-ADDB-24346BA38A74}"/>
              </a:ext>
            </a:extLst>
          </p:cNvPr>
          <p:cNvSpPr txBox="1"/>
          <p:nvPr/>
        </p:nvSpPr>
        <p:spPr>
          <a:xfrm>
            <a:off x="838200" y="6181815"/>
            <a:ext cx="4479401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cs typeface="Calibri"/>
              </a:rPr>
              <a:t>Source: IEA (2019), Crews (2017), own calculations with conversion efficiency of 50%</a:t>
            </a:r>
          </a:p>
        </p:txBody>
      </p:sp>
    </p:spTree>
    <p:extLst>
      <p:ext uri="{BB962C8B-B14F-4D97-AF65-F5344CB8AC3E}">
        <p14:creationId xmlns:p14="http://schemas.microsoft.com/office/powerpoint/2010/main" val="38298802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6E4F4FC-5569-48A9-A0A5-4070A5C25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612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6" imgH="346" progId="TCLayout.ActiveDocument.1">
                  <p:embed/>
                </p:oleObj>
              </mc:Choice>
              <mc:Fallback>
                <p:oleObj name="think-cell Folie" r:id="rId3" imgW="346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6E4F4FC-5569-48A9-A0A5-4070A5C25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6A943F3D-592B-4FDA-AE53-8570D3182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Calcula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emission</a:t>
            </a:r>
            <a:r>
              <a:rPr lang="de-DE"/>
              <a:t> </a:t>
            </a:r>
            <a:r>
              <a:rPr lang="de-DE" err="1"/>
              <a:t>factor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Inhaltsplatzhalter 5">
                <a:extLst>
                  <a:ext uri="{FF2B5EF4-FFF2-40B4-BE49-F238E27FC236}">
                    <a16:creationId xmlns:a16="http://schemas.microsoft.com/office/drawing/2014/main" id="{CE16D78B-5C58-4DEC-895E-C67CB942FAB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𝑒𝑓</m:t>
                          </m:r>
                        </m:e>
                        <m:sub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  <m:t>𝑒𝑙</m:t>
                                  </m:r>
                                  <m: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  <m:t>𝑔𝑟𝑒𝑦</m:t>
                                  </m:r>
                                </m:e>
                                <m:sub>
                                  <m: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𝑎𝑣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𝑒𝑓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𝑟𝑒𝑠𝐿𝑜𝑎𝑑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f>
                                <m:fPr>
                                  <m:ctrlP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de-DE" sz="24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2400" b="0" i="1" smtClean="0">
                                          <a:latin typeface="Cambria Math" panose="02040503050406030204" pitchFamily="18" charset="0"/>
                                        </a:rPr>
                                        <m:t>𝑟𝑒𝑠</m:t>
                                      </m:r>
                                      <m:r>
                                        <a:rPr lang="de-DE" sz="2400" b="0" i="1" smtClean="0">
                                          <a:latin typeface="Cambria Math" panose="02040503050406030204" pitchFamily="18" charset="0"/>
                                        </a:rPr>
                                        <m:t>_</m:t>
                                      </m:r>
                                      <m:r>
                                        <a:rPr lang="de-DE" sz="2400" b="0" i="1" smtClean="0">
                                          <a:latin typeface="Cambria Math" panose="02040503050406030204" pitchFamily="18" charset="0"/>
                                        </a:rPr>
                                        <m:t>𝐿𝑜𝑎𝑑</m:t>
                                      </m:r>
                                    </m:e>
                                    <m:sub>
                                      <m:r>
                                        <a:rPr lang="de-DE" sz="2400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de-DE" sz="24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2400" b="0" i="1" smtClean="0">
                                          <a:latin typeface="Cambria Math" panose="02040503050406030204" pitchFamily="18" charset="0"/>
                                        </a:rPr>
                                        <m:t>𝑑𝑒𝑚𝑎𝑛𝑑</m:t>
                                      </m:r>
                                    </m:e>
                                    <m:sub>
                                      <m:r>
                                        <a:rPr lang="de-DE" sz="2400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nary>
                        </m:num>
                        <m:den>
                          <m:nary>
                            <m:naryPr>
                              <m:chr m:val="∑"/>
                              <m:ctrlP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  <m:t>𝑃𝑅𝑂𝐷</m:t>
                                  </m:r>
                                </m:e>
                                <m:sub>
                                  <m:r>
                                    <a:rPr lang="de-DE" sz="24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nary>
                        </m:den>
                      </m:f>
                    </m:oMath>
                  </m:oMathPara>
                </a14:m>
                <a:endParaRPr lang="de-DE" sz="2400"/>
              </a:p>
              <a:p>
                <a:pPr marL="0" indent="0">
                  <a:buNone/>
                </a:pPr>
                <a:endParaRPr lang="de-DE" sz="2400"/>
              </a:p>
              <a:p>
                <a:pPr marL="0" indent="0">
                  <a:buNone/>
                </a:pP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f</a:t>
                </a:r>
                <a:r>
                  <a:rPr lang="de-DE" sz="2400" i="1" baseline="-2500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2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mission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actor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hydrogen in kgCO2/kgH2</a:t>
                </a:r>
              </a:p>
              <a:p>
                <a:pPr marL="0" indent="0">
                  <a:buNone/>
                </a:pP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l_grey</a:t>
                </a:r>
                <a:r>
                  <a:rPr lang="de-DE" sz="2400" i="1" baseline="-2500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de-DE" sz="2400" i="1" baseline="-2500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rey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lectricity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ithdrawn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om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rid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eriod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t in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Wh</a:t>
                </a:r>
                <a:r>
                  <a:rPr lang="de-DE" sz="2400" i="1" baseline="-2500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l</a:t>
                </a:r>
                <a:endParaRPr lang="de-DE" sz="2400" i="1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v_ef_resLoad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verage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mission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actor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f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sidual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ad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kgCO2/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Wh</a:t>
                </a:r>
                <a:r>
                  <a:rPr lang="de-DE" sz="2400" i="1" baseline="-2500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l</a:t>
                </a:r>
                <a:endParaRPr lang="de-DE" sz="2400" i="1" baseline="-25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s_Load</a:t>
                </a:r>
                <a:r>
                  <a:rPr lang="de-DE" sz="2400" i="1" baseline="-2500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residual Load in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eriod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t in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Wh</a:t>
                </a:r>
                <a:r>
                  <a:rPr lang="de-DE" sz="2400" i="1" baseline="-2500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l</a:t>
                </a:r>
                <a:endParaRPr lang="de-DE" sz="2400" i="1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mand</a:t>
                </a:r>
                <a:r>
                  <a:rPr lang="de-DE" sz="2400" i="1" baseline="-2500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mand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t in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Wh</a:t>
                </a:r>
                <a:r>
                  <a:rPr lang="de-DE" sz="2400" i="1" baseline="-2500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l</a:t>
                </a:r>
                <a:endParaRPr lang="de-DE" sz="2400" i="1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</a:t>
                </a:r>
                <a:r>
                  <a:rPr lang="de-DE" sz="2400" i="1" baseline="-2500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Hydrogen </a:t>
                </a:r>
                <a:r>
                  <a:rPr lang="de-DE" sz="2400" i="1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ion</a:t>
                </a:r>
                <a:r>
                  <a:rPr lang="de-DE" sz="2400" i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t in kg</a:t>
                </a:r>
              </a:p>
            </p:txBody>
          </p:sp>
        </mc:Choice>
        <mc:Fallback xmlns="">
          <p:sp>
            <p:nvSpPr>
              <p:cNvPr id="6" name="Inhaltsplatzhalter 5">
                <a:extLst>
                  <a:ext uri="{FF2B5EF4-FFF2-40B4-BE49-F238E27FC236}">
                    <a16:creationId xmlns:a16="http://schemas.microsoft.com/office/drawing/2014/main" id="{CE16D78B-5C58-4DEC-895E-C67CB942FAB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6"/>
                <a:stretch>
                  <a:fillRect l="-928" b="-14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79937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2551C6-E2A5-4093-ABC5-2A279FFBE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Q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B41C6A-604C-4E71-B0C5-3635287E48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88" y="1235370"/>
            <a:ext cx="10515599" cy="4548188"/>
          </a:xfrm>
        </p:spPr>
        <p:txBody>
          <a:bodyPr/>
          <a:lstStyle/>
          <a:p>
            <a:pPr marL="0" indent="0">
              <a:buNone/>
            </a:pPr>
            <a:r>
              <a:rPr lang="de-DE" sz="1100" b="1" u="sng" err="1"/>
              <a:t>What</a:t>
            </a:r>
            <a:r>
              <a:rPr lang="de-DE" sz="1100" b="1" u="sng"/>
              <a:t> do </a:t>
            </a:r>
            <a:r>
              <a:rPr lang="de-DE" sz="1100" b="1" u="sng" err="1"/>
              <a:t>your</a:t>
            </a:r>
            <a:r>
              <a:rPr lang="de-DE" sz="1100" b="1" u="sng"/>
              <a:t> </a:t>
            </a:r>
            <a:r>
              <a:rPr lang="de-DE" sz="1100" b="1" u="sng" err="1"/>
              <a:t>results</a:t>
            </a:r>
            <a:r>
              <a:rPr lang="de-DE" sz="1100" b="1" u="sng"/>
              <a:t> </a:t>
            </a:r>
            <a:r>
              <a:rPr lang="de-DE" sz="1100" b="1" u="sng" err="1"/>
              <a:t>tell</a:t>
            </a:r>
            <a:r>
              <a:rPr lang="de-DE" sz="1100" b="1" u="sng"/>
              <a:t> </a:t>
            </a:r>
            <a:r>
              <a:rPr lang="de-DE" sz="1100" b="1" u="sng" err="1"/>
              <a:t>me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 i="1" err="1"/>
              <a:t>Electrolyzer</a:t>
            </a:r>
            <a:r>
              <a:rPr lang="de-DE" sz="1100" i="1"/>
              <a:t> Operators</a:t>
            </a:r>
            <a:r>
              <a:rPr lang="de-DE" sz="1100"/>
              <a:t>: In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short</a:t>
            </a:r>
            <a:r>
              <a:rPr lang="de-DE" sz="1100"/>
              <a:t>-term </a:t>
            </a:r>
            <a:r>
              <a:rPr lang="de-DE" sz="1100" err="1"/>
              <a:t>electrolyzer</a:t>
            </a:r>
            <a:r>
              <a:rPr lang="de-DE" sz="1100"/>
              <a:t> </a:t>
            </a:r>
            <a:r>
              <a:rPr lang="de-DE" sz="1100" err="1"/>
              <a:t>investments</a:t>
            </a:r>
            <a:r>
              <a:rPr lang="de-DE" sz="1100"/>
              <a:t> </a:t>
            </a:r>
            <a:r>
              <a:rPr lang="de-DE" sz="1100" err="1"/>
              <a:t>are</a:t>
            </a:r>
            <a:r>
              <a:rPr lang="de-DE" sz="1100"/>
              <a:t> </a:t>
            </a:r>
            <a:r>
              <a:rPr lang="de-DE" sz="1100" err="1"/>
              <a:t>only</a:t>
            </a:r>
            <a:r>
              <a:rPr lang="de-DE" sz="1100"/>
              <a:t> in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money</a:t>
            </a:r>
            <a:r>
              <a:rPr lang="de-DE" sz="1100"/>
              <a:t> </a:t>
            </a:r>
            <a:r>
              <a:rPr lang="de-DE" sz="1100" err="1"/>
              <a:t>given</a:t>
            </a:r>
            <a:r>
              <a:rPr lang="de-DE" sz="1100"/>
              <a:t> a </a:t>
            </a:r>
            <a:r>
              <a:rPr lang="de-DE" sz="1100" err="1"/>
              <a:t>considerable</a:t>
            </a:r>
            <a:r>
              <a:rPr lang="de-DE" sz="1100"/>
              <a:t> </a:t>
            </a:r>
            <a:r>
              <a:rPr lang="de-DE" sz="1100" err="1"/>
              <a:t>green</a:t>
            </a:r>
            <a:r>
              <a:rPr lang="de-DE" sz="1100"/>
              <a:t> premium (</a:t>
            </a:r>
            <a:r>
              <a:rPr lang="de-DE" sz="1100" err="1"/>
              <a:t>induced</a:t>
            </a:r>
            <a:r>
              <a:rPr lang="de-DE" sz="1100"/>
              <a:t> </a:t>
            </a:r>
            <a:r>
              <a:rPr lang="de-DE" sz="1100" err="1"/>
              <a:t>by</a:t>
            </a:r>
            <a:r>
              <a:rPr lang="de-DE" sz="1100"/>
              <a:t> </a:t>
            </a:r>
            <a:r>
              <a:rPr lang="de-DE" sz="1100" err="1"/>
              <a:t>preferences</a:t>
            </a:r>
            <a:r>
              <a:rPr lang="de-DE" sz="1100"/>
              <a:t>, CO2-Prices, </a:t>
            </a:r>
            <a:r>
              <a:rPr lang="de-DE" sz="1100" err="1"/>
              <a:t>policies</a:t>
            </a:r>
            <a:r>
              <a:rPr lang="de-DE" sz="1100"/>
              <a:t> etc.). This </a:t>
            </a:r>
            <a:r>
              <a:rPr lang="de-DE" sz="1100" err="1"/>
              <a:t>is</a:t>
            </a:r>
            <a:r>
              <a:rPr lang="de-DE" sz="1100"/>
              <a:t> </a:t>
            </a:r>
            <a:r>
              <a:rPr lang="de-DE" sz="1100" err="1"/>
              <a:t>particularly</a:t>
            </a:r>
            <a:r>
              <a:rPr lang="de-DE" sz="1100"/>
              <a:t> </a:t>
            </a:r>
            <a:r>
              <a:rPr lang="de-DE" sz="1100" err="1"/>
              <a:t>if</a:t>
            </a:r>
            <a:r>
              <a:rPr lang="de-DE" sz="1100"/>
              <a:t> high </a:t>
            </a:r>
            <a:r>
              <a:rPr lang="de-DE" sz="1100" err="1"/>
              <a:t>requirements</a:t>
            </a:r>
            <a:r>
              <a:rPr lang="de-DE" sz="1100"/>
              <a:t> on </a:t>
            </a:r>
            <a:r>
              <a:rPr lang="de-DE" sz="1100" err="1"/>
              <a:t>green</a:t>
            </a:r>
            <a:r>
              <a:rPr lang="de-DE" sz="1100"/>
              <a:t> hydrogen </a:t>
            </a:r>
            <a:r>
              <a:rPr lang="de-DE" sz="1100" err="1"/>
              <a:t>production</a:t>
            </a:r>
            <a:r>
              <a:rPr lang="de-DE" sz="1100"/>
              <a:t> </a:t>
            </a:r>
            <a:r>
              <a:rPr lang="de-DE" sz="1100" err="1"/>
              <a:t>are</a:t>
            </a:r>
            <a:r>
              <a:rPr lang="de-DE" sz="1100"/>
              <a:t> in </a:t>
            </a:r>
            <a:r>
              <a:rPr lang="de-DE" sz="1100" err="1"/>
              <a:t>place</a:t>
            </a:r>
            <a:r>
              <a:rPr lang="de-DE" sz="1100"/>
              <a:t> </a:t>
            </a:r>
            <a:r>
              <a:rPr lang="de-DE" sz="1100" err="1"/>
              <a:t>regarding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temporal </a:t>
            </a:r>
            <a:r>
              <a:rPr lang="de-DE" sz="1100" err="1"/>
              <a:t>correlation</a:t>
            </a:r>
            <a:r>
              <a:rPr lang="de-DE" sz="1100"/>
              <a:t>. This also </a:t>
            </a:r>
            <a:r>
              <a:rPr lang="de-DE" sz="1100" err="1"/>
              <a:t>induces</a:t>
            </a:r>
            <a:r>
              <a:rPr lang="de-DE" sz="1100"/>
              <a:t> a </a:t>
            </a:r>
            <a:r>
              <a:rPr lang="de-DE" sz="1100" err="1"/>
              <a:t>considerable</a:t>
            </a:r>
            <a:r>
              <a:rPr lang="de-DE" sz="1100"/>
              <a:t> </a:t>
            </a:r>
            <a:r>
              <a:rPr lang="de-DE" sz="1100" err="1"/>
              <a:t>weather-dependency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an </a:t>
            </a:r>
            <a:r>
              <a:rPr lang="de-DE" sz="1100" err="1"/>
              <a:t>electrolyzers</a:t>
            </a:r>
            <a:r>
              <a:rPr lang="de-DE" sz="1100"/>
              <a:t> </a:t>
            </a:r>
            <a:r>
              <a:rPr lang="de-DE" sz="1100" err="1"/>
              <a:t>profits</a:t>
            </a:r>
            <a:r>
              <a:rPr lang="de-DE" sz="1100"/>
              <a:t> and </a:t>
            </a:r>
            <a:r>
              <a:rPr lang="de-DE" sz="1100" err="1"/>
              <a:t>limitations</a:t>
            </a:r>
            <a:r>
              <a:rPr lang="de-DE" sz="1100"/>
              <a:t> in </a:t>
            </a:r>
            <a:r>
              <a:rPr lang="de-DE" sz="1100" err="1"/>
              <a:t>dispatch</a:t>
            </a:r>
            <a:r>
              <a:rPr lang="de-DE" sz="1100"/>
              <a:t> </a:t>
            </a:r>
            <a:r>
              <a:rPr lang="de-DE" sz="1100" err="1"/>
              <a:t>decisions</a:t>
            </a:r>
            <a:r>
              <a:rPr lang="de-DE" sz="1100"/>
              <a:t> </a:t>
            </a:r>
            <a:r>
              <a:rPr lang="de-DE" sz="1100" err="1"/>
              <a:t>which</a:t>
            </a:r>
            <a:r>
              <a:rPr lang="de-DE" sz="1100"/>
              <a:t> </a:t>
            </a:r>
            <a:r>
              <a:rPr lang="de-DE" sz="1100" err="1"/>
              <a:t>must</a:t>
            </a:r>
            <a:r>
              <a:rPr lang="de-DE" sz="1100"/>
              <a:t> </a:t>
            </a:r>
            <a:r>
              <a:rPr lang="de-DE" sz="1100" err="1"/>
              <a:t>be</a:t>
            </a:r>
            <a:r>
              <a:rPr lang="de-DE" sz="1100"/>
              <a:t> </a:t>
            </a:r>
            <a:r>
              <a:rPr lang="de-DE" sz="1100" err="1"/>
              <a:t>considered</a:t>
            </a:r>
            <a:r>
              <a:rPr lang="de-DE" sz="1100"/>
              <a:t> </a:t>
            </a:r>
            <a:r>
              <a:rPr lang="de-DE" sz="1100" err="1"/>
              <a:t>when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investment</a:t>
            </a:r>
            <a:r>
              <a:rPr lang="de-DE" sz="1100"/>
              <a:t> </a:t>
            </a:r>
            <a:r>
              <a:rPr lang="de-DE" sz="1100" err="1"/>
              <a:t>decision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</a:t>
            </a:r>
            <a:r>
              <a:rPr lang="de-DE" sz="1100" err="1"/>
              <a:t>done</a:t>
            </a:r>
            <a:r>
              <a:rPr lang="de-DE" sz="1100"/>
              <a:t>. </a:t>
            </a:r>
          </a:p>
          <a:p>
            <a:pPr marL="0" indent="0">
              <a:buNone/>
            </a:pPr>
            <a:r>
              <a:rPr lang="de-DE" sz="1100" i="1"/>
              <a:t>Policy Makers</a:t>
            </a:r>
            <a:r>
              <a:rPr lang="de-DE" sz="1100"/>
              <a:t>: </a:t>
            </a:r>
            <a:r>
              <a:rPr lang="de-DE" sz="1100" err="1"/>
              <a:t>If</a:t>
            </a:r>
            <a:r>
              <a:rPr lang="de-DE" sz="1100"/>
              <a:t> „</a:t>
            </a:r>
            <a:r>
              <a:rPr lang="de-DE" sz="1100" err="1"/>
              <a:t>greenwashing</a:t>
            </a:r>
            <a:r>
              <a:rPr lang="de-DE" sz="1100"/>
              <a:t>“ via a </a:t>
            </a:r>
            <a:r>
              <a:rPr lang="de-DE" sz="1100" err="1"/>
              <a:t>loose</a:t>
            </a:r>
            <a:r>
              <a:rPr lang="de-DE" sz="1100"/>
              <a:t> temporal </a:t>
            </a:r>
            <a:r>
              <a:rPr lang="de-DE" sz="1100" err="1"/>
              <a:t>correlation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</a:t>
            </a:r>
            <a:r>
              <a:rPr lang="de-DE" sz="1100" err="1"/>
              <a:t>no</a:t>
            </a:r>
            <a:r>
              <a:rPr lang="de-DE" sz="1100"/>
              <a:t> </a:t>
            </a:r>
            <a:r>
              <a:rPr lang="de-DE" sz="1100" err="1"/>
              <a:t>policy</a:t>
            </a:r>
            <a:r>
              <a:rPr lang="de-DE" sz="1100"/>
              <a:t> </a:t>
            </a:r>
            <a:r>
              <a:rPr lang="de-DE" sz="1100" err="1"/>
              <a:t>option</a:t>
            </a:r>
            <a:r>
              <a:rPr lang="de-DE" sz="1100"/>
              <a:t> and </a:t>
            </a:r>
            <a:r>
              <a:rPr lang="de-DE" sz="1100" err="1"/>
              <a:t>thus</a:t>
            </a:r>
            <a:r>
              <a:rPr lang="de-DE" sz="1100"/>
              <a:t> </a:t>
            </a:r>
            <a:r>
              <a:rPr lang="de-DE" sz="1100" err="1"/>
              <a:t>subsidizing</a:t>
            </a:r>
            <a:r>
              <a:rPr lang="de-DE" sz="1100"/>
              <a:t> </a:t>
            </a:r>
            <a:r>
              <a:rPr lang="de-DE" sz="1100" err="1"/>
              <a:t>grey</a:t>
            </a:r>
            <a:r>
              <a:rPr lang="de-DE" sz="1100"/>
              <a:t> hydrogen </a:t>
            </a:r>
            <a:r>
              <a:rPr lang="de-DE" sz="1100" err="1"/>
              <a:t>is</a:t>
            </a:r>
            <a:r>
              <a:rPr lang="de-DE" sz="1100"/>
              <a:t> </a:t>
            </a:r>
            <a:r>
              <a:rPr lang="de-DE" sz="1100" err="1"/>
              <a:t>no</a:t>
            </a:r>
            <a:r>
              <a:rPr lang="de-DE" sz="1100"/>
              <a:t> </a:t>
            </a:r>
            <a:r>
              <a:rPr lang="de-DE" sz="1100" err="1"/>
              <a:t>option</a:t>
            </a:r>
            <a:r>
              <a:rPr lang="de-DE" sz="1100"/>
              <a:t>,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green</a:t>
            </a:r>
            <a:r>
              <a:rPr lang="de-DE" sz="1100"/>
              <a:t> premium </a:t>
            </a:r>
            <a:r>
              <a:rPr lang="de-DE" sz="1100" err="1"/>
              <a:t>has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be</a:t>
            </a:r>
            <a:r>
              <a:rPr lang="de-DE" sz="1100"/>
              <a:t> </a:t>
            </a:r>
            <a:r>
              <a:rPr lang="de-DE" sz="1100" err="1"/>
              <a:t>assured</a:t>
            </a:r>
            <a:r>
              <a:rPr lang="de-DE" sz="1100"/>
              <a:t> via </a:t>
            </a:r>
            <a:r>
              <a:rPr lang="de-DE" sz="1100" err="1"/>
              <a:t>other</a:t>
            </a:r>
            <a:r>
              <a:rPr lang="de-DE" sz="1100"/>
              <a:t> </a:t>
            </a:r>
            <a:r>
              <a:rPr lang="de-DE" sz="1100" err="1"/>
              <a:t>instruments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enfoster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targeted</a:t>
            </a:r>
            <a:r>
              <a:rPr lang="de-DE" sz="1100"/>
              <a:t> </a:t>
            </a:r>
            <a:r>
              <a:rPr lang="de-DE" sz="1100" err="1"/>
              <a:t>electrolyzer</a:t>
            </a:r>
            <a:r>
              <a:rPr lang="de-DE" sz="1100"/>
              <a:t> </a:t>
            </a:r>
            <a:r>
              <a:rPr lang="de-DE" sz="1100" err="1"/>
              <a:t>investments</a:t>
            </a:r>
            <a:r>
              <a:rPr lang="de-DE" sz="1100"/>
              <a:t>. The </a:t>
            </a:r>
            <a:r>
              <a:rPr lang="de-DE" sz="1100" err="1"/>
              <a:t>risk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</a:t>
            </a:r>
            <a:r>
              <a:rPr lang="de-DE" sz="1100" err="1"/>
              <a:t>higher</a:t>
            </a:r>
            <a:r>
              <a:rPr lang="de-DE" sz="1100"/>
              <a:t> </a:t>
            </a:r>
            <a:r>
              <a:rPr lang="de-DE" sz="1100" err="1"/>
              <a:t>green</a:t>
            </a:r>
            <a:r>
              <a:rPr lang="de-DE" sz="1100"/>
              <a:t> </a:t>
            </a:r>
            <a:r>
              <a:rPr lang="de-DE" sz="1100" err="1"/>
              <a:t>premia</a:t>
            </a:r>
            <a:r>
              <a:rPr lang="de-DE" sz="1100"/>
              <a:t> </a:t>
            </a:r>
            <a:r>
              <a:rPr lang="de-DE" sz="1100" err="1"/>
              <a:t>increases</a:t>
            </a:r>
            <a:r>
              <a:rPr lang="de-DE" sz="1100"/>
              <a:t> </a:t>
            </a:r>
            <a:r>
              <a:rPr lang="de-DE" sz="1100" err="1"/>
              <a:t>with</a:t>
            </a:r>
            <a:r>
              <a:rPr lang="de-DE" sz="1100"/>
              <a:t> </a:t>
            </a:r>
            <a:r>
              <a:rPr lang="de-DE" sz="1100" err="1"/>
              <a:t>increasing</a:t>
            </a:r>
            <a:r>
              <a:rPr lang="de-DE" sz="1100"/>
              <a:t> temporal </a:t>
            </a:r>
            <a:r>
              <a:rPr lang="de-DE" sz="1100" err="1"/>
              <a:t>correlation</a:t>
            </a:r>
            <a:r>
              <a:rPr lang="de-DE" sz="1100"/>
              <a:t>. Thus </a:t>
            </a:r>
            <a:r>
              <a:rPr lang="de-DE" sz="1100" err="1"/>
              <a:t>it</a:t>
            </a:r>
            <a:r>
              <a:rPr lang="de-DE" sz="1100"/>
              <a:t> </a:t>
            </a:r>
            <a:r>
              <a:rPr lang="de-DE" sz="1100" err="1"/>
              <a:t>may</a:t>
            </a:r>
            <a:r>
              <a:rPr lang="de-DE" sz="1100"/>
              <a:t> </a:t>
            </a:r>
            <a:r>
              <a:rPr lang="de-DE" sz="1100" err="1"/>
              <a:t>become</a:t>
            </a:r>
            <a:r>
              <a:rPr lang="de-DE" sz="1100"/>
              <a:t> </a:t>
            </a:r>
            <a:r>
              <a:rPr lang="de-DE" sz="1100" err="1"/>
              <a:t>harder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define</a:t>
            </a:r>
            <a:r>
              <a:rPr lang="de-DE" sz="1100"/>
              <a:t> a </a:t>
            </a:r>
            <a:r>
              <a:rPr lang="de-DE" sz="1100" err="1"/>
              <a:t>suitable</a:t>
            </a:r>
            <a:r>
              <a:rPr lang="de-DE" sz="1100"/>
              <a:t> </a:t>
            </a:r>
            <a:r>
              <a:rPr lang="de-DE" sz="1100" err="1"/>
              <a:t>subsidy</a:t>
            </a:r>
            <a:r>
              <a:rPr lang="de-DE" sz="1100"/>
              <a:t>.</a:t>
            </a:r>
          </a:p>
          <a:p>
            <a:pPr marL="0" indent="0">
              <a:buNone/>
            </a:pPr>
            <a:r>
              <a:rPr lang="de-DE" sz="1100" i="1" err="1"/>
              <a:t>Scientists</a:t>
            </a:r>
            <a:r>
              <a:rPr lang="de-DE" sz="1100"/>
              <a:t>: The </a:t>
            </a:r>
            <a:r>
              <a:rPr lang="de-DE" sz="1100" err="1"/>
              <a:t>viability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a </a:t>
            </a:r>
            <a:r>
              <a:rPr lang="de-DE" sz="1100" err="1"/>
              <a:t>ptg</a:t>
            </a:r>
            <a:r>
              <a:rPr lang="de-DE" sz="1100"/>
              <a:t>-plant in an </a:t>
            </a:r>
            <a:r>
              <a:rPr lang="de-DE" sz="1100" err="1"/>
              <a:t>intermittent</a:t>
            </a:r>
            <a:r>
              <a:rPr lang="de-DE" sz="1100"/>
              <a:t> </a:t>
            </a:r>
            <a:r>
              <a:rPr lang="de-DE" sz="1100" err="1"/>
              <a:t>electricity</a:t>
            </a:r>
            <a:r>
              <a:rPr lang="de-DE" sz="1100"/>
              <a:t> </a:t>
            </a:r>
            <a:r>
              <a:rPr lang="de-DE" sz="1100" err="1"/>
              <a:t>system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an </a:t>
            </a:r>
            <a:r>
              <a:rPr lang="de-DE" sz="1100" err="1"/>
              <a:t>intersting</a:t>
            </a:r>
            <a:r>
              <a:rPr lang="de-DE" sz="1100"/>
              <a:t> </a:t>
            </a:r>
            <a:r>
              <a:rPr lang="de-DE" sz="1100" err="1"/>
              <a:t>field</a:t>
            </a:r>
            <a:r>
              <a:rPr lang="de-DE" sz="1100"/>
              <a:t>. </a:t>
            </a:r>
            <a:r>
              <a:rPr lang="de-DE" sz="1100" err="1"/>
              <a:t>Particularly</a:t>
            </a:r>
            <a:r>
              <a:rPr lang="de-DE" sz="1100"/>
              <a:t>,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spatial</a:t>
            </a:r>
            <a:r>
              <a:rPr lang="de-DE" sz="1100"/>
              <a:t> </a:t>
            </a:r>
            <a:r>
              <a:rPr lang="de-DE" sz="1100" err="1"/>
              <a:t>correlation</a:t>
            </a:r>
            <a:r>
              <a:rPr lang="de-DE" sz="1100"/>
              <a:t> and </a:t>
            </a:r>
            <a:r>
              <a:rPr lang="de-DE" sz="1100" err="1"/>
              <a:t>portfolio</a:t>
            </a:r>
            <a:r>
              <a:rPr lang="de-DE" sz="1100"/>
              <a:t> </a:t>
            </a:r>
            <a:r>
              <a:rPr lang="de-DE" sz="1100" err="1"/>
              <a:t>effects</a:t>
            </a:r>
            <a:r>
              <a:rPr lang="de-DE" sz="1100"/>
              <a:t> </a:t>
            </a:r>
            <a:r>
              <a:rPr lang="de-DE" sz="1100" err="1"/>
              <a:t>may</a:t>
            </a:r>
            <a:r>
              <a:rPr lang="de-DE" sz="1100"/>
              <a:t> </a:t>
            </a:r>
            <a:r>
              <a:rPr lang="de-DE" sz="1100" err="1"/>
              <a:t>be</a:t>
            </a:r>
            <a:r>
              <a:rPr lang="de-DE" sz="1100"/>
              <a:t> </a:t>
            </a:r>
            <a:r>
              <a:rPr lang="de-DE" sz="1100" err="1"/>
              <a:t>worth</a:t>
            </a:r>
            <a:r>
              <a:rPr lang="de-DE" sz="1100"/>
              <a:t> </a:t>
            </a:r>
            <a:r>
              <a:rPr lang="de-DE" sz="1100" err="1"/>
              <a:t>analyzing</a:t>
            </a:r>
            <a:r>
              <a:rPr lang="de-DE" sz="1100"/>
              <a:t>. The </a:t>
            </a:r>
            <a:r>
              <a:rPr lang="de-DE" sz="1100" err="1"/>
              <a:t>effects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PtG </a:t>
            </a:r>
            <a:r>
              <a:rPr lang="de-DE" sz="1100" err="1"/>
              <a:t>operation</a:t>
            </a:r>
            <a:r>
              <a:rPr lang="de-DE" sz="1100"/>
              <a:t> </a:t>
            </a:r>
            <a:r>
              <a:rPr lang="de-DE" sz="1100" err="1"/>
              <a:t>with</a:t>
            </a:r>
            <a:r>
              <a:rPr lang="de-DE" sz="1100"/>
              <a:t> </a:t>
            </a:r>
            <a:r>
              <a:rPr lang="de-DE" sz="1100" err="1"/>
              <a:t>grid</a:t>
            </a:r>
            <a:r>
              <a:rPr lang="de-DE" sz="1100"/>
              <a:t> </a:t>
            </a:r>
            <a:r>
              <a:rPr lang="de-DE" sz="1100" err="1"/>
              <a:t>connections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so </a:t>
            </a:r>
            <a:r>
              <a:rPr lang="de-DE" sz="1100" err="1"/>
              <a:t>far</a:t>
            </a:r>
            <a:r>
              <a:rPr lang="de-DE" sz="1100"/>
              <a:t> </a:t>
            </a:r>
            <a:r>
              <a:rPr lang="de-DE" sz="1100" err="1"/>
              <a:t>less</a:t>
            </a:r>
            <a:r>
              <a:rPr lang="de-DE" sz="1100"/>
              <a:t> </a:t>
            </a:r>
            <a:r>
              <a:rPr lang="de-DE" sz="1100" err="1"/>
              <a:t>researched</a:t>
            </a:r>
            <a:endParaRPr lang="de-DE" sz="1100"/>
          </a:p>
          <a:p>
            <a:pPr marL="0" indent="0">
              <a:buNone/>
            </a:pPr>
            <a:r>
              <a:rPr lang="de-DE" sz="1100" b="1" u="sng" err="1"/>
              <a:t>Why</a:t>
            </a:r>
            <a:r>
              <a:rPr lang="de-DE" sz="1100" b="1" u="sng"/>
              <a:t> do </a:t>
            </a:r>
            <a:r>
              <a:rPr lang="de-DE" sz="1100" b="1" u="sng" err="1"/>
              <a:t>you</a:t>
            </a:r>
            <a:r>
              <a:rPr lang="de-DE" sz="1100" b="1" u="sng"/>
              <a:t> </a:t>
            </a:r>
            <a:r>
              <a:rPr lang="de-DE" sz="1100" b="1" u="sng" err="1"/>
              <a:t>consider</a:t>
            </a:r>
            <a:r>
              <a:rPr lang="de-DE" sz="1100" b="1" u="sng"/>
              <a:t> </a:t>
            </a:r>
            <a:r>
              <a:rPr lang="de-DE" sz="1100" b="1" u="sng" err="1"/>
              <a:t>that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RES plant </a:t>
            </a:r>
            <a:r>
              <a:rPr lang="de-DE" sz="1100" b="1" u="sng" err="1"/>
              <a:t>is</a:t>
            </a:r>
            <a:r>
              <a:rPr lang="de-DE" sz="1100" b="1" u="sng"/>
              <a:t> </a:t>
            </a:r>
            <a:r>
              <a:rPr lang="de-DE" sz="1100" b="1" u="sng" err="1"/>
              <a:t>twice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</a:t>
            </a:r>
            <a:r>
              <a:rPr lang="de-DE" sz="1100" b="1" u="sng" err="1"/>
              <a:t>size</a:t>
            </a:r>
            <a:r>
              <a:rPr lang="de-DE" sz="1100" b="1" u="sng"/>
              <a:t> </a:t>
            </a:r>
            <a:r>
              <a:rPr lang="de-DE" sz="1100" b="1" u="sng" err="1"/>
              <a:t>of</a:t>
            </a:r>
            <a:r>
              <a:rPr lang="de-DE" sz="1100" b="1" u="sng"/>
              <a:t> </a:t>
            </a:r>
            <a:r>
              <a:rPr lang="de-DE" sz="1100" b="1" u="sng" err="1"/>
              <a:t>your</a:t>
            </a:r>
            <a:r>
              <a:rPr lang="de-DE" sz="1100" b="1" u="sng"/>
              <a:t> PtG-plant? </a:t>
            </a:r>
            <a:r>
              <a:rPr lang="de-DE" sz="1100" b="1" u="sng" err="1"/>
              <a:t>How</a:t>
            </a:r>
            <a:r>
              <a:rPr lang="de-DE" sz="1100" b="1" u="sng"/>
              <a:t> sensitive </a:t>
            </a:r>
            <a:r>
              <a:rPr lang="de-DE" sz="1100" b="1" u="sng" err="1"/>
              <a:t>are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</a:t>
            </a:r>
            <a:r>
              <a:rPr lang="de-DE" sz="1100" b="1" u="sng" err="1"/>
              <a:t>results</a:t>
            </a:r>
            <a:r>
              <a:rPr lang="de-DE" sz="1100" b="1" u="sng"/>
              <a:t> </a:t>
            </a:r>
            <a:r>
              <a:rPr lang="de-DE" sz="1100" b="1" u="sng" err="1"/>
              <a:t>to</a:t>
            </a:r>
            <a:r>
              <a:rPr lang="de-DE" sz="1100" b="1" u="sng"/>
              <a:t> </a:t>
            </a:r>
            <a:r>
              <a:rPr lang="de-DE" sz="1100" b="1" u="sng" err="1"/>
              <a:t>changes</a:t>
            </a:r>
            <a:r>
              <a:rPr lang="de-DE" sz="1100" b="1" u="sng"/>
              <a:t> </a:t>
            </a:r>
            <a:r>
              <a:rPr lang="de-DE" sz="1100" b="1" u="sng" err="1"/>
              <a:t>of</a:t>
            </a:r>
            <a:r>
              <a:rPr lang="de-DE" sz="1100" b="1" u="sng"/>
              <a:t> </a:t>
            </a:r>
            <a:r>
              <a:rPr lang="de-DE" sz="1100" b="1" u="sng" err="1"/>
              <a:t>this</a:t>
            </a:r>
            <a:r>
              <a:rPr lang="de-DE" sz="1100" b="1" u="sng"/>
              <a:t> </a:t>
            </a:r>
            <a:r>
              <a:rPr lang="de-DE" sz="1100" b="1" u="sng" err="1"/>
              <a:t>multiplier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 err="1"/>
              <a:t>If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wind </a:t>
            </a:r>
            <a:r>
              <a:rPr lang="de-DE" sz="1100" err="1"/>
              <a:t>farm</a:t>
            </a:r>
            <a:r>
              <a:rPr lang="de-DE" sz="1100"/>
              <a:t> was oversized so </a:t>
            </a:r>
            <a:r>
              <a:rPr lang="de-DE" sz="1100" err="1"/>
              <a:t>that</a:t>
            </a:r>
            <a:r>
              <a:rPr lang="de-DE" sz="1100"/>
              <a:t> </a:t>
            </a:r>
            <a:r>
              <a:rPr lang="de-DE" sz="1100" err="1"/>
              <a:t>its</a:t>
            </a:r>
            <a:r>
              <a:rPr lang="de-DE" sz="1100"/>
              <a:t> </a:t>
            </a:r>
            <a:r>
              <a:rPr lang="de-DE" sz="1100" err="1"/>
              <a:t>minimum</a:t>
            </a:r>
            <a:r>
              <a:rPr lang="de-DE" sz="1100"/>
              <a:t> </a:t>
            </a:r>
            <a:r>
              <a:rPr lang="de-DE" sz="1100" err="1"/>
              <a:t>supply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still </a:t>
            </a:r>
            <a:r>
              <a:rPr lang="de-DE" sz="1100" err="1"/>
              <a:t>meet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electrolyzer‘s</a:t>
            </a:r>
            <a:r>
              <a:rPr lang="de-DE" sz="1100"/>
              <a:t> maximum </a:t>
            </a:r>
            <a:r>
              <a:rPr lang="de-DE" sz="1100" err="1"/>
              <a:t>load</a:t>
            </a:r>
            <a:r>
              <a:rPr lang="de-DE" sz="1100"/>
              <a:t>, </a:t>
            </a:r>
            <a:r>
              <a:rPr lang="de-DE" sz="1100" err="1"/>
              <a:t>the</a:t>
            </a:r>
            <a:r>
              <a:rPr lang="de-DE" sz="1100"/>
              <a:t> temporal </a:t>
            </a:r>
            <a:r>
              <a:rPr lang="de-DE" sz="1100" err="1"/>
              <a:t>correlation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not matter. </a:t>
            </a:r>
            <a:r>
              <a:rPr lang="de-DE" sz="1100" err="1"/>
              <a:t>However</a:t>
            </a:r>
            <a:r>
              <a:rPr lang="de-DE" sz="1100"/>
              <a:t>, </a:t>
            </a:r>
            <a:r>
              <a:rPr lang="de-DE" sz="1100" err="1"/>
              <a:t>firstly</a:t>
            </a:r>
            <a:r>
              <a:rPr lang="de-DE" sz="1100"/>
              <a:t>, </a:t>
            </a:r>
            <a:r>
              <a:rPr lang="de-DE" sz="1100" err="1"/>
              <a:t>we</a:t>
            </a:r>
            <a:r>
              <a:rPr lang="de-DE" sz="1100"/>
              <a:t> </a:t>
            </a:r>
            <a:r>
              <a:rPr lang="de-DE" sz="1100" err="1"/>
              <a:t>assume</a:t>
            </a:r>
            <a:r>
              <a:rPr lang="de-DE" sz="1100"/>
              <a:t> </a:t>
            </a:r>
            <a:r>
              <a:rPr lang="de-DE" sz="1100" err="1"/>
              <a:t>here</a:t>
            </a:r>
            <a:r>
              <a:rPr lang="de-DE" sz="1100"/>
              <a:t> </a:t>
            </a:r>
            <a:r>
              <a:rPr lang="de-DE" sz="1100" err="1"/>
              <a:t>that</a:t>
            </a:r>
            <a:r>
              <a:rPr lang="de-DE" sz="1100"/>
              <a:t> </a:t>
            </a:r>
            <a:r>
              <a:rPr lang="de-DE" sz="1100" err="1"/>
              <a:t>bought</a:t>
            </a:r>
            <a:r>
              <a:rPr lang="de-DE" sz="1100"/>
              <a:t> </a:t>
            </a:r>
            <a:r>
              <a:rPr lang="de-DE" sz="1100" err="1"/>
              <a:t>electricity</a:t>
            </a:r>
            <a:r>
              <a:rPr lang="de-DE" sz="1100"/>
              <a:t> </a:t>
            </a:r>
            <a:r>
              <a:rPr lang="de-DE" sz="1100" err="1"/>
              <a:t>from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wind </a:t>
            </a:r>
            <a:r>
              <a:rPr lang="de-DE" sz="1100" err="1"/>
              <a:t>farm</a:t>
            </a:r>
            <a:r>
              <a:rPr lang="de-DE" sz="1100"/>
              <a:t> </a:t>
            </a:r>
            <a:r>
              <a:rPr lang="de-DE" sz="1100" err="1"/>
              <a:t>can</a:t>
            </a:r>
            <a:r>
              <a:rPr lang="de-DE" sz="1100"/>
              <a:t> </a:t>
            </a:r>
            <a:r>
              <a:rPr lang="de-DE" sz="1100" err="1"/>
              <a:t>be</a:t>
            </a:r>
            <a:r>
              <a:rPr lang="de-DE" sz="1100"/>
              <a:t> </a:t>
            </a:r>
            <a:r>
              <a:rPr lang="de-DE" sz="1100" err="1"/>
              <a:t>sold</a:t>
            </a:r>
            <a:r>
              <a:rPr lang="de-DE" sz="1100"/>
              <a:t> at </a:t>
            </a:r>
            <a:r>
              <a:rPr lang="de-DE" sz="1100" err="1"/>
              <a:t>the</a:t>
            </a:r>
            <a:r>
              <a:rPr lang="de-DE" sz="1100"/>
              <a:t> same </a:t>
            </a:r>
            <a:r>
              <a:rPr lang="de-DE" sz="1100" err="1"/>
              <a:t>price</a:t>
            </a:r>
            <a:r>
              <a:rPr lang="de-DE" sz="1100"/>
              <a:t> </a:t>
            </a:r>
            <a:r>
              <a:rPr lang="de-DE" sz="1100" err="1"/>
              <a:t>again</a:t>
            </a:r>
            <a:r>
              <a:rPr lang="de-DE" sz="1100"/>
              <a:t>. In </a:t>
            </a:r>
            <a:r>
              <a:rPr lang="de-DE" sz="1100" err="1"/>
              <a:t>reality</a:t>
            </a:r>
            <a:r>
              <a:rPr lang="de-DE" sz="1100"/>
              <a:t>, </a:t>
            </a:r>
            <a:r>
              <a:rPr lang="de-DE" sz="1100" err="1"/>
              <a:t>costs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</a:t>
            </a:r>
            <a:r>
              <a:rPr lang="de-DE" sz="1100" err="1"/>
              <a:t>this</a:t>
            </a:r>
            <a:r>
              <a:rPr lang="de-DE" sz="1100"/>
              <a:t> trade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prevent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electrolyzer</a:t>
            </a:r>
            <a:r>
              <a:rPr lang="de-DE" sz="1100"/>
              <a:t> </a:t>
            </a:r>
            <a:r>
              <a:rPr lang="de-DE" sz="1100" err="1"/>
              <a:t>operator</a:t>
            </a:r>
            <a:r>
              <a:rPr lang="de-DE" sz="1100"/>
              <a:t> </a:t>
            </a:r>
            <a:r>
              <a:rPr lang="de-DE" sz="1100" err="1"/>
              <a:t>from</a:t>
            </a:r>
            <a:r>
              <a:rPr lang="de-DE" sz="1100"/>
              <a:t> </a:t>
            </a:r>
            <a:r>
              <a:rPr lang="de-DE" sz="1100" err="1"/>
              <a:t>contracting</a:t>
            </a:r>
            <a:r>
              <a:rPr lang="de-DE" sz="1100"/>
              <a:t> </a:t>
            </a:r>
            <a:r>
              <a:rPr lang="de-DE" sz="1100" err="1"/>
              <a:t>electricity</a:t>
            </a:r>
            <a:r>
              <a:rPr lang="de-DE" sz="1100"/>
              <a:t> </a:t>
            </a:r>
            <a:r>
              <a:rPr lang="de-DE" sz="1100" err="1"/>
              <a:t>limitless</a:t>
            </a:r>
            <a:r>
              <a:rPr lang="de-DE" sz="1100"/>
              <a:t> </a:t>
            </a:r>
            <a:r>
              <a:rPr lang="de-DE" sz="1100" err="1"/>
              <a:t>from</a:t>
            </a:r>
            <a:r>
              <a:rPr lang="de-DE" sz="1100"/>
              <a:t> wind </a:t>
            </a:r>
            <a:r>
              <a:rPr lang="de-DE" sz="1100" err="1"/>
              <a:t>farms</a:t>
            </a:r>
            <a:r>
              <a:rPr lang="de-DE" sz="1100"/>
              <a:t>. </a:t>
            </a:r>
            <a:r>
              <a:rPr lang="de-DE" sz="1100" err="1"/>
              <a:t>Secondly</a:t>
            </a:r>
            <a:r>
              <a:rPr lang="de-DE" sz="1100"/>
              <a:t>, </a:t>
            </a:r>
            <a:r>
              <a:rPr lang="de-DE" sz="1100" err="1"/>
              <a:t>this</a:t>
            </a:r>
            <a:r>
              <a:rPr lang="de-DE" sz="1100"/>
              <a:t> same </a:t>
            </a:r>
            <a:r>
              <a:rPr lang="de-DE" sz="1100" err="1"/>
              <a:t>difference</a:t>
            </a:r>
            <a:r>
              <a:rPr lang="de-DE" sz="1100"/>
              <a:t> </a:t>
            </a:r>
            <a:r>
              <a:rPr lang="de-DE" sz="1100" err="1"/>
              <a:t>may</a:t>
            </a:r>
            <a:r>
              <a:rPr lang="de-DE" sz="1100"/>
              <a:t> </a:t>
            </a:r>
            <a:r>
              <a:rPr lang="de-DE" sz="1100" err="1"/>
              <a:t>result</a:t>
            </a:r>
            <a:r>
              <a:rPr lang="de-DE" sz="1100"/>
              <a:t> </a:t>
            </a:r>
            <a:r>
              <a:rPr lang="de-DE" sz="1100" err="1"/>
              <a:t>from</a:t>
            </a:r>
            <a:r>
              <a:rPr lang="de-DE" sz="1100"/>
              <a:t> </a:t>
            </a:r>
            <a:r>
              <a:rPr lang="de-DE" sz="1100" err="1"/>
              <a:t>buying</a:t>
            </a:r>
            <a:r>
              <a:rPr lang="de-DE" sz="1100"/>
              <a:t> and </a:t>
            </a:r>
            <a:r>
              <a:rPr lang="de-DE" sz="1100" err="1"/>
              <a:t>selling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green</a:t>
            </a:r>
            <a:r>
              <a:rPr lang="de-DE" sz="1100"/>
              <a:t> </a:t>
            </a:r>
            <a:r>
              <a:rPr lang="de-DE" sz="1100" err="1"/>
              <a:t>certificates</a:t>
            </a:r>
            <a:r>
              <a:rPr lang="de-DE" sz="1100"/>
              <a:t> </a:t>
            </a:r>
            <a:r>
              <a:rPr lang="de-DE" sz="1100" err="1"/>
              <a:t>corresponding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wind power </a:t>
            </a:r>
            <a:r>
              <a:rPr lang="de-DE" sz="1100" err="1"/>
              <a:t>generation</a:t>
            </a:r>
            <a:r>
              <a:rPr lang="de-DE" sz="1100"/>
              <a:t>. (Alternative 1: Dedicated RES Alternative 2: </a:t>
            </a:r>
            <a:r>
              <a:rPr lang="de-DE" sz="1100" err="1"/>
              <a:t>GoO</a:t>
            </a:r>
            <a:r>
              <a:rPr lang="de-DE" sz="1100"/>
              <a:t>-Market, Alternative 3: </a:t>
            </a:r>
            <a:r>
              <a:rPr lang="de-DE" sz="1100" err="1"/>
              <a:t>RESFactor</a:t>
            </a:r>
            <a:r>
              <a:rPr lang="de-DE" sz="1100"/>
              <a:t>=1 -&gt; </a:t>
            </a:r>
            <a:r>
              <a:rPr lang="de-DE" sz="1100" err="1"/>
              <a:t>Ptg</a:t>
            </a:r>
            <a:r>
              <a:rPr lang="de-DE" sz="1100"/>
              <a:t> </a:t>
            </a:r>
            <a:r>
              <a:rPr lang="de-DE" sz="1100" err="1"/>
              <a:t>has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follow </a:t>
            </a:r>
            <a:r>
              <a:rPr lang="de-DE" sz="1100" err="1"/>
              <a:t>the</a:t>
            </a:r>
            <a:r>
              <a:rPr lang="de-DE" sz="1100"/>
              <a:t> wind </a:t>
            </a:r>
            <a:r>
              <a:rPr lang="de-DE" sz="1100" err="1"/>
              <a:t>profile</a:t>
            </a:r>
            <a:r>
              <a:rPr lang="de-DE" sz="1100"/>
              <a:t> in Germany (</a:t>
            </a:r>
            <a:r>
              <a:rPr lang="de-DE" sz="1100" err="1"/>
              <a:t>additionality</a:t>
            </a:r>
            <a:r>
              <a:rPr lang="de-DE" sz="1100"/>
              <a:t>?)/</a:t>
            </a:r>
            <a:r>
              <a:rPr lang="de-DE" sz="1100" err="1"/>
              <a:t>Currently</a:t>
            </a:r>
            <a:r>
              <a:rPr lang="de-DE" sz="1100"/>
              <a:t> </a:t>
            </a:r>
            <a:r>
              <a:rPr lang="de-DE" sz="1100" err="1"/>
              <a:t>it</a:t>
            </a:r>
            <a:r>
              <a:rPr lang="de-DE" sz="1100"/>
              <a:t> </a:t>
            </a:r>
            <a:r>
              <a:rPr lang="de-DE" sz="1100" err="1"/>
              <a:t>only</a:t>
            </a:r>
            <a:r>
              <a:rPr lang="de-DE" sz="1100"/>
              <a:t> </a:t>
            </a:r>
            <a:r>
              <a:rPr lang="de-DE" sz="1100" err="1"/>
              <a:t>reduces</a:t>
            </a:r>
            <a:r>
              <a:rPr lang="de-DE" sz="1100"/>
              <a:t> </a:t>
            </a:r>
            <a:r>
              <a:rPr lang="de-DE" sz="1100" err="1"/>
              <a:t>if</a:t>
            </a:r>
            <a:r>
              <a:rPr lang="de-DE" sz="1100"/>
              <a:t> </a:t>
            </a:r>
            <a:r>
              <a:rPr lang="de-DE" sz="1100" err="1"/>
              <a:t>there‘s</a:t>
            </a:r>
            <a:r>
              <a:rPr lang="de-DE" sz="1100"/>
              <a:t> </a:t>
            </a:r>
            <a:r>
              <a:rPr lang="de-DE" sz="1100" err="1"/>
              <a:t>low</a:t>
            </a:r>
            <a:r>
              <a:rPr lang="de-DE" sz="1100"/>
              <a:t> wind but </a:t>
            </a:r>
            <a:r>
              <a:rPr lang="de-DE" sz="1100" err="1"/>
              <a:t>cannot</a:t>
            </a:r>
            <a:r>
              <a:rPr lang="de-DE" sz="1100"/>
              <a:t> </a:t>
            </a:r>
            <a:r>
              <a:rPr lang="de-DE" sz="1100" err="1"/>
              <a:t>increase</a:t>
            </a:r>
            <a:r>
              <a:rPr lang="de-DE" sz="1100"/>
              <a:t> </a:t>
            </a:r>
            <a:r>
              <a:rPr lang="de-DE" sz="1100" err="1"/>
              <a:t>further</a:t>
            </a:r>
            <a:r>
              <a:rPr lang="de-DE" sz="1100"/>
              <a:t> </a:t>
            </a:r>
            <a:r>
              <a:rPr lang="de-DE" sz="1100" err="1"/>
              <a:t>when</a:t>
            </a:r>
            <a:r>
              <a:rPr lang="de-DE" sz="1100"/>
              <a:t> </a:t>
            </a:r>
            <a:r>
              <a:rPr lang="de-DE" sz="1100" err="1"/>
              <a:t>there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high wind) </a:t>
            </a:r>
            <a:r>
              <a:rPr lang="de-DE" sz="1100" err="1"/>
              <a:t>Implicit</a:t>
            </a:r>
            <a:r>
              <a:rPr lang="de-DE" sz="1100"/>
              <a:t> </a:t>
            </a:r>
            <a:r>
              <a:rPr lang="de-DE" sz="1100" err="1"/>
              <a:t>Assumption</a:t>
            </a:r>
            <a:r>
              <a:rPr lang="de-DE" sz="1100"/>
              <a:t>: </a:t>
            </a:r>
            <a:r>
              <a:rPr lang="de-DE" sz="1100" err="1"/>
              <a:t>Buying</a:t>
            </a:r>
            <a:r>
              <a:rPr lang="de-DE" sz="1100"/>
              <a:t> </a:t>
            </a:r>
            <a:r>
              <a:rPr lang="de-DE" sz="1100" err="1"/>
              <a:t>excess</a:t>
            </a:r>
            <a:r>
              <a:rPr lang="de-DE" sz="1100"/>
              <a:t> </a:t>
            </a:r>
            <a:r>
              <a:rPr lang="de-DE" sz="1100" err="1"/>
              <a:t>green</a:t>
            </a:r>
            <a:r>
              <a:rPr lang="de-DE" sz="1100"/>
              <a:t> </a:t>
            </a:r>
            <a:r>
              <a:rPr lang="de-DE" sz="1100" err="1"/>
              <a:t>electricity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</a:t>
            </a:r>
            <a:r>
              <a:rPr lang="de-DE" sz="1100" err="1"/>
              <a:t>costly</a:t>
            </a:r>
            <a:endParaRPr lang="de-DE" sz="1100"/>
          </a:p>
          <a:p>
            <a:pPr marL="0" indent="0">
              <a:buNone/>
            </a:pPr>
            <a:r>
              <a:rPr lang="de-DE" sz="1100" b="1" u="sng" err="1"/>
              <a:t>Why</a:t>
            </a:r>
            <a:r>
              <a:rPr lang="de-DE" sz="1100" b="1" u="sng"/>
              <a:t> do </a:t>
            </a:r>
            <a:r>
              <a:rPr lang="de-DE" sz="1100" b="1" u="sng" err="1"/>
              <a:t>you</a:t>
            </a:r>
            <a:r>
              <a:rPr lang="de-DE" sz="1100" b="1" u="sng"/>
              <a:t> </a:t>
            </a:r>
            <a:r>
              <a:rPr lang="de-DE" sz="1100" b="1" u="sng" err="1"/>
              <a:t>consider</a:t>
            </a:r>
            <a:r>
              <a:rPr lang="de-DE" sz="1100" b="1" u="sng"/>
              <a:t> so </a:t>
            </a:r>
            <a:r>
              <a:rPr lang="de-DE" sz="1100" b="1" u="sng" err="1"/>
              <a:t>low</a:t>
            </a:r>
            <a:r>
              <a:rPr lang="de-DE" sz="1100" b="1" u="sng"/>
              <a:t> </a:t>
            </a:r>
            <a:r>
              <a:rPr lang="de-DE" sz="1100" b="1" u="sng" err="1"/>
              <a:t>surcharges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 err="1"/>
              <a:t>Based</a:t>
            </a:r>
            <a:r>
              <a:rPr lang="de-DE" sz="1100"/>
              <a:t> on </a:t>
            </a:r>
            <a:r>
              <a:rPr lang="de-DE" sz="1100" err="1"/>
              <a:t>Glenk</a:t>
            </a:r>
            <a:r>
              <a:rPr lang="de-DE" sz="1100"/>
              <a:t> (2020), </a:t>
            </a:r>
            <a:r>
              <a:rPr lang="de-DE" sz="1100" err="1"/>
              <a:t>we</a:t>
            </a:r>
            <a:r>
              <a:rPr lang="de-DE" sz="1100"/>
              <a:t> </a:t>
            </a:r>
            <a:r>
              <a:rPr lang="de-DE" sz="1100" err="1"/>
              <a:t>assume</a:t>
            </a:r>
            <a:r>
              <a:rPr lang="de-DE" sz="1100"/>
              <a:t> </a:t>
            </a:r>
            <a:r>
              <a:rPr lang="de-DE" sz="1100" err="1"/>
              <a:t>that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electrolyzer</a:t>
            </a:r>
            <a:r>
              <a:rPr lang="de-DE" sz="1100"/>
              <a:t> </a:t>
            </a:r>
            <a:r>
              <a:rPr lang="de-DE" sz="1100" err="1"/>
              <a:t>only</a:t>
            </a:r>
            <a:r>
              <a:rPr lang="de-DE" sz="1100"/>
              <a:t> </a:t>
            </a:r>
            <a:r>
              <a:rPr lang="de-DE" sz="1100" err="1"/>
              <a:t>has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pay</a:t>
            </a:r>
            <a:r>
              <a:rPr lang="de-DE" sz="1100"/>
              <a:t> </a:t>
            </a:r>
            <a:r>
              <a:rPr lang="de-DE" sz="1100" err="1"/>
              <a:t>low</a:t>
            </a:r>
            <a:r>
              <a:rPr lang="de-DE" sz="1100"/>
              <a:t> </a:t>
            </a:r>
            <a:r>
              <a:rPr lang="de-DE" sz="1100" err="1"/>
              <a:t>surcharges</a:t>
            </a:r>
            <a:r>
              <a:rPr lang="de-DE" sz="1100"/>
              <a:t> and </a:t>
            </a:r>
            <a:r>
              <a:rPr lang="de-DE" sz="1100" err="1"/>
              <a:t>taxes</a:t>
            </a:r>
            <a:r>
              <a:rPr lang="de-DE" sz="1100"/>
              <a:t>. The </a:t>
            </a:r>
            <a:r>
              <a:rPr lang="de-DE" sz="1100" err="1"/>
              <a:t>computed</a:t>
            </a:r>
            <a:r>
              <a:rPr lang="de-DE" sz="1100"/>
              <a:t> </a:t>
            </a:r>
            <a:r>
              <a:rPr lang="de-DE" sz="1100" err="1"/>
              <a:t>green</a:t>
            </a:r>
            <a:r>
              <a:rPr lang="de-DE" sz="1100"/>
              <a:t> </a:t>
            </a:r>
            <a:r>
              <a:rPr lang="de-DE" sz="1100" err="1"/>
              <a:t>premia</a:t>
            </a:r>
            <a:r>
              <a:rPr lang="de-DE" sz="1100"/>
              <a:t> </a:t>
            </a:r>
            <a:r>
              <a:rPr lang="de-DE" sz="1100" err="1"/>
              <a:t>thus</a:t>
            </a:r>
            <a:r>
              <a:rPr lang="de-DE" sz="1100"/>
              <a:t> </a:t>
            </a:r>
            <a:r>
              <a:rPr lang="de-DE" sz="1100" err="1"/>
              <a:t>are</a:t>
            </a:r>
            <a:r>
              <a:rPr lang="de-DE" sz="1100"/>
              <a:t> </a:t>
            </a:r>
            <a:r>
              <a:rPr lang="de-DE" sz="1100" err="1"/>
              <a:t>needed</a:t>
            </a:r>
            <a:r>
              <a:rPr lang="de-DE" sz="1100"/>
              <a:t> </a:t>
            </a:r>
            <a:r>
              <a:rPr lang="de-DE" sz="1100" err="1"/>
              <a:t>beyond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subsidies</a:t>
            </a:r>
            <a:r>
              <a:rPr lang="de-DE" sz="1100"/>
              <a:t> </a:t>
            </a:r>
            <a:r>
              <a:rPr lang="de-DE" sz="1100" err="1"/>
              <a:t>already</a:t>
            </a:r>
            <a:r>
              <a:rPr lang="de-DE" sz="1100"/>
              <a:t> </a:t>
            </a:r>
            <a:r>
              <a:rPr lang="de-DE" sz="1100" err="1"/>
              <a:t>assumed</a:t>
            </a:r>
            <a:r>
              <a:rPr lang="de-DE" sz="1100"/>
              <a:t> </a:t>
            </a:r>
            <a:r>
              <a:rPr lang="de-DE" sz="1100" err="1"/>
              <a:t>here</a:t>
            </a:r>
            <a:r>
              <a:rPr lang="de-DE" sz="1100"/>
              <a:t>.</a:t>
            </a:r>
          </a:p>
          <a:p>
            <a:pPr marL="0" indent="0">
              <a:buNone/>
            </a:pPr>
            <a:r>
              <a:rPr lang="de-DE" sz="1100" b="1" u="sng" err="1"/>
              <a:t>Why</a:t>
            </a:r>
            <a:r>
              <a:rPr lang="de-DE" sz="1100" b="1" u="sng"/>
              <a:t> do </a:t>
            </a:r>
            <a:r>
              <a:rPr lang="de-DE" sz="1100" b="1" u="sng" err="1"/>
              <a:t>you</a:t>
            </a:r>
            <a:r>
              <a:rPr lang="de-DE" sz="1100" b="1" u="sng"/>
              <a:t> not </a:t>
            </a:r>
            <a:r>
              <a:rPr lang="de-DE" sz="1100" b="1" u="sng" err="1"/>
              <a:t>consider</a:t>
            </a:r>
            <a:r>
              <a:rPr lang="de-DE" sz="1100" b="1" u="sng"/>
              <a:t> a </a:t>
            </a:r>
            <a:r>
              <a:rPr lang="de-DE" sz="1100" b="1" u="sng" err="1"/>
              <a:t>correlation</a:t>
            </a:r>
            <a:r>
              <a:rPr lang="de-DE" sz="1100" b="1" u="sng"/>
              <a:t> </a:t>
            </a:r>
            <a:r>
              <a:rPr lang="de-DE" sz="1100" b="1" u="sng" err="1"/>
              <a:t>resolution</a:t>
            </a:r>
            <a:r>
              <a:rPr lang="de-DE" sz="1100" b="1" u="sng"/>
              <a:t> </a:t>
            </a:r>
            <a:r>
              <a:rPr lang="de-DE" sz="1100" b="1" u="sng" err="1"/>
              <a:t>of</a:t>
            </a:r>
            <a:r>
              <a:rPr lang="de-DE" sz="1100" b="1" u="sng"/>
              <a:t> 15 </a:t>
            </a:r>
            <a:r>
              <a:rPr lang="de-DE" sz="1100" b="1" u="sng" err="1"/>
              <a:t>minutes</a:t>
            </a:r>
            <a:r>
              <a:rPr lang="de-DE" sz="1100" b="1" u="sng"/>
              <a:t>? </a:t>
            </a:r>
            <a:r>
              <a:rPr lang="de-DE" sz="1100" b="1" u="sng" err="1"/>
              <a:t>Is</a:t>
            </a:r>
            <a:r>
              <a:rPr lang="de-DE" sz="1100" b="1" u="sng"/>
              <a:t> </a:t>
            </a:r>
            <a:r>
              <a:rPr lang="de-DE" sz="1100" b="1" u="sng" err="1"/>
              <a:t>your</a:t>
            </a:r>
            <a:r>
              <a:rPr lang="de-DE" sz="1100" b="1" u="sng"/>
              <a:t> </a:t>
            </a:r>
            <a:r>
              <a:rPr lang="de-DE" sz="1100" b="1" u="sng" err="1"/>
              <a:t>question</a:t>
            </a:r>
            <a:r>
              <a:rPr lang="de-DE" sz="1100" b="1" u="sng"/>
              <a:t> still relevant in light </a:t>
            </a:r>
            <a:r>
              <a:rPr lang="de-DE" sz="1100" b="1" u="sng" err="1"/>
              <a:t>of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</a:t>
            </a:r>
            <a:r>
              <a:rPr lang="de-DE" sz="1100" b="1" u="sng" err="1"/>
              <a:t>new</a:t>
            </a:r>
            <a:r>
              <a:rPr lang="de-DE" sz="1100" b="1" u="sng"/>
              <a:t> </a:t>
            </a:r>
            <a:r>
              <a:rPr lang="de-DE" sz="1100" b="1" u="sng" err="1"/>
              <a:t>regulation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 err="1"/>
              <a:t>We</a:t>
            </a:r>
            <a:r>
              <a:rPr lang="de-DE" sz="1100"/>
              <a:t> still </a:t>
            </a:r>
            <a:r>
              <a:rPr lang="de-DE" sz="1100" err="1"/>
              <a:t>obtain</a:t>
            </a:r>
            <a:r>
              <a:rPr lang="de-DE" sz="1100"/>
              <a:t> relevant </a:t>
            </a:r>
            <a:r>
              <a:rPr lang="de-DE" sz="1100" err="1"/>
              <a:t>insights</a:t>
            </a:r>
            <a:r>
              <a:rPr lang="de-DE" sz="1100"/>
              <a:t> in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relation</a:t>
            </a:r>
            <a:r>
              <a:rPr lang="de-DE" sz="1100"/>
              <a:t> </a:t>
            </a:r>
            <a:r>
              <a:rPr lang="de-DE" sz="1100" err="1"/>
              <a:t>between</a:t>
            </a:r>
            <a:r>
              <a:rPr lang="de-DE" sz="1100"/>
              <a:t> temporal </a:t>
            </a:r>
            <a:r>
              <a:rPr lang="de-DE" sz="1100" err="1"/>
              <a:t>correlation</a:t>
            </a:r>
            <a:r>
              <a:rPr lang="de-DE" sz="1100"/>
              <a:t> and </a:t>
            </a:r>
            <a:r>
              <a:rPr lang="de-DE" sz="1100" err="1"/>
              <a:t>revenue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an </a:t>
            </a:r>
            <a:r>
              <a:rPr lang="de-DE" sz="1100" err="1"/>
              <a:t>electrolyzer</a:t>
            </a:r>
            <a:r>
              <a:rPr lang="de-DE" sz="1100"/>
              <a:t>, also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level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</a:t>
            </a:r>
            <a:r>
              <a:rPr lang="de-DE" sz="1100" err="1"/>
              <a:t>missing</a:t>
            </a:r>
            <a:r>
              <a:rPr lang="de-DE" sz="1100"/>
              <a:t> </a:t>
            </a:r>
            <a:r>
              <a:rPr lang="de-DE" sz="1100" err="1"/>
              <a:t>premia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still valid. </a:t>
            </a:r>
            <a:r>
              <a:rPr lang="de-DE" sz="1100" err="1"/>
              <a:t>However</a:t>
            </a:r>
            <a:r>
              <a:rPr lang="de-DE" sz="1100"/>
              <a:t>, </a:t>
            </a:r>
            <a:r>
              <a:rPr lang="de-DE" sz="1100" err="1"/>
              <a:t>we</a:t>
            </a:r>
            <a:r>
              <a:rPr lang="de-DE" sz="1100"/>
              <a:t> will also </a:t>
            </a:r>
            <a:r>
              <a:rPr lang="de-DE" sz="1100" err="1"/>
              <a:t>calculate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results</a:t>
            </a:r>
            <a:r>
              <a:rPr lang="de-DE" sz="1100"/>
              <a:t> </a:t>
            </a:r>
            <a:r>
              <a:rPr lang="de-DE" sz="1100" err="1"/>
              <a:t>for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case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15 </a:t>
            </a:r>
            <a:r>
              <a:rPr lang="de-DE" sz="1100" err="1"/>
              <a:t>Minutes</a:t>
            </a:r>
            <a:r>
              <a:rPr lang="de-DE" sz="1100"/>
              <a:t>.</a:t>
            </a:r>
          </a:p>
          <a:p>
            <a:pPr marL="0" indent="0">
              <a:buNone/>
            </a:pPr>
            <a:r>
              <a:rPr lang="de-DE" sz="1100" b="1" u="sng" err="1"/>
              <a:t>How</a:t>
            </a:r>
            <a:r>
              <a:rPr lang="de-DE" sz="1100" b="1" u="sng"/>
              <a:t> sensitive </a:t>
            </a:r>
            <a:r>
              <a:rPr lang="de-DE" sz="1100" b="1" u="sng" err="1"/>
              <a:t>are</a:t>
            </a:r>
            <a:r>
              <a:rPr lang="de-DE" sz="1100" b="1" u="sng"/>
              <a:t> </a:t>
            </a:r>
            <a:r>
              <a:rPr lang="de-DE" sz="1100" b="1" u="sng" err="1"/>
              <a:t>your</a:t>
            </a:r>
            <a:r>
              <a:rPr lang="de-DE" sz="1100" b="1" u="sng"/>
              <a:t> </a:t>
            </a:r>
            <a:r>
              <a:rPr lang="de-DE" sz="1100" b="1" u="sng" err="1"/>
              <a:t>results</a:t>
            </a:r>
            <a:r>
              <a:rPr lang="de-DE" sz="1100" b="1" u="sng"/>
              <a:t> </a:t>
            </a:r>
            <a:r>
              <a:rPr lang="de-DE" sz="1100" b="1" u="sng" err="1"/>
              <a:t>regarding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benchmark </a:t>
            </a:r>
            <a:r>
              <a:rPr lang="de-DE" sz="1100" b="1" u="sng" err="1"/>
              <a:t>price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/>
              <a:t>A </a:t>
            </a:r>
            <a:r>
              <a:rPr lang="de-DE" sz="1100" err="1"/>
              <a:t>higher</a:t>
            </a:r>
            <a:r>
              <a:rPr lang="de-DE" sz="1100"/>
              <a:t> Benchmark </a:t>
            </a:r>
            <a:r>
              <a:rPr lang="de-DE" sz="1100" err="1"/>
              <a:t>price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decrease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green</a:t>
            </a:r>
            <a:r>
              <a:rPr lang="de-DE" sz="1100"/>
              <a:t> premium and vice </a:t>
            </a:r>
            <a:r>
              <a:rPr lang="de-DE" sz="1100" err="1"/>
              <a:t>versa</a:t>
            </a:r>
            <a:r>
              <a:rPr lang="de-DE" sz="1100"/>
              <a:t>. Also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weather</a:t>
            </a:r>
            <a:r>
              <a:rPr lang="de-DE" sz="1100"/>
              <a:t> </a:t>
            </a:r>
            <a:r>
              <a:rPr lang="de-DE" sz="1100" err="1"/>
              <a:t>dependency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decrease</a:t>
            </a:r>
            <a:r>
              <a:rPr lang="de-DE" sz="1100"/>
              <a:t>.</a:t>
            </a:r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9687996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2551C6-E2A5-4093-ABC5-2A279FFBE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Q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B41C6A-604C-4E71-B0C5-3635287E48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628775"/>
            <a:ext cx="10515599" cy="4548188"/>
          </a:xfrm>
        </p:spPr>
        <p:txBody>
          <a:bodyPr/>
          <a:lstStyle/>
          <a:p>
            <a:pPr marL="0" indent="0">
              <a:buNone/>
            </a:pPr>
            <a:r>
              <a:rPr lang="de-DE" sz="1100" err="1"/>
              <a:t>Isn‘t</a:t>
            </a:r>
            <a:r>
              <a:rPr lang="de-DE" sz="1100"/>
              <a:t> </a:t>
            </a:r>
            <a:r>
              <a:rPr lang="de-DE" sz="1100" err="1"/>
              <a:t>there</a:t>
            </a:r>
            <a:r>
              <a:rPr lang="de-DE" sz="1100"/>
              <a:t> </a:t>
            </a:r>
            <a:r>
              <a:rPr lang="de-DE" sz="1100" err="1"/>
              <a:t>literature</a:t>
            </a:r>
            <a:r>
              <a:rPr lang="de-DE" sz="1100"/>
              <a:t> on </a:t>
            </a:r>
            <a:r>
              <a:rPr lang="de-DE" sz="1100" err="1"/>
              <a:t>guarantees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</a:t>
            </a:r>
            <a:r>
              <a:rPr lang="de-DE" sz="1100" err="1"/>
              <a:t>origin</a:t>
            </a:r>
            <a:r>
              <a:rPr lang="de-DE" sz="1100"/>
              <a:t> and </a:t>
            </a:r>
            <a:r>
              <a:rPr lang="de-DE" sz="1100" err="1"/>
              <a:t>how</a:t>
            </a:r>
            <a:r>
              <a:rPr lang="de-DE" sz="1100"/>
              <a:t> </a:t>
            </a:r>
            <a:r>
              <a:rPr lang="de-DE" sz="1100" err="1"/>
              <a:t>they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be</a:t>
            </a:r>
            <a:r>
              <a:rPr lang="de-DE" sz="1100"/>
              <a:t> transferable </a:t>
            </a:r>
            <a:r>
              <a:rPr lang="de-DE" sz="1100" err="1"/>
              <a:t>to</a:t>
            </a:r>
            <a:r>
              <a:rPr lang="de-DE" sz="1100"/>
              <a:t> a hydrogen </a:t>
            </a:r>
            <a:r>
              <a:rPr lang="de-DE" sz="1100" err="1"/>
              <a:t>market</a:t>
            </a:r>
            <a:r>
              <a:rPr lang="de-DE" sz="1100"/>
              <a:t>?</a:t>
            </a:r>
          </a:p>
          <a:p>
            <a:pPr marL="0" indent="0">
              <a:buNone/>
            </a:pPr>
            <a:r>
              <a:rPr lang="de-DE" sz="1100" b="1" u="sng" err="1"/>
              <a:t>How</a:t>
            </a:r>
            <a:r>
              <a:rPr lang="de-DE" sz="1100" b="1" u="sng"/>
              <a:t> do </a:t>
            </a:r>
            <a:r>
              <a:rPr lang="de-DE" sz="1100" b="1" u="sng" err="1"/>
              <a:t>you</a:t>
            </a:r>
            <a:r>
              <a:rPr lang="de-DE" sz="1100" b="1" u="sng"/>
              <a:t> </a:t>
            </a:r>
            <a:r>
              <a:rPr lang="de-DE" sz="1100" b="1" u="sng" err="1"/>
              <a:t>compute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</a:t>
            </a:r>
            <a:r>
              <a:rPr lang="de-DE" sz="1100" b="1" u="sng" err="1"/>
              <a:t>green</a:t>
            </a:r>
            <a:r>
              <a:rPr lang="de-DE" sz="1100" b="1" u="sng"/>
              <a:t> premium?</a:t>
            </a:r>
          </a:p>
          <a:p>
            <a:pPr marL="0" indent="0">
              <a:buNone/>
            </a:pPr>
            <a:r>
              <a:rPr lang="de-DE" sz="1100"/>
              <a:t>(</a:t>
            </a:r>
            <a:r>
              <a:rPr lang="de-DE" sz="1100" err="1"/>
              <a:t>Annuity</a:t>
            </a:r>
            <a:r>
              <a:rPr lang="de-DE" sz="1100"/>
              <a:t> + </a:t>
            </a:r>
            <a:r>
              <a:rPr lang="de-DE" sz="1100" err="1"/>
              <a:t>fixed</a:t>
            </a:r>
            <a:r>
              <a:rPr lang="de-DE" sz="1100"/>
              <a:t> O&amp;M – Profit) / Total </a:t>
            </a:r>
            <a:r>
              <a:rPr lang="de-DE" sz="1100" err="1"/>
              <a:t>production</a:t>
            </a:r>
            <a:endParaRPr lang="de-DE" sz="1100"/>
          </a:p>
          <a:p>
            <a:pPr marL="0" indent="0">
              <a:buNone/>
            </a:pPr>
            <a:r>
              <a:rPr lang="de-DE" sz="1100" err="1"/>
              <a:t>Why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anyone</a:t>
            </a:r>
            <a:r>
              <a:rPr lang="de-DE" sz="1100"/>
              <a:t> </a:t>
            </a:r>
            <a:r>
              <a:rPr lang="de-DE" sz="1100" err="1"/>
              <a:t>consider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pay</a:t>
            </a:r>
            <a:r>
              <a:rPr lang="de-DE" sz="1100"/>
              <a:t> a </a:t>
            </a:r>
            <a:r>
              <a:rPr lang="de-DE" sz="1100" err="1"/>
              <a:t>green</a:t>
            </a:r>
            <a:r>
              <a:rPr lang="de-DE" sz="1100"/>
              <a:t> premium </a:t>
            </a:r>
            <a:r>
              <a:rPr lang="de-DE" sz="1100" err="1"/>
              <a:t>for</a:t>
            </a:r>
            <a:r>
              <a:rPr lang="de-DE" sz="1100"/>
              <a:t> </a:t>
            </a:r>
            <a:r>
              <a:rPr lang="de-DE" sz="1100" err="1"/>
              <a:t>green</a:t>
            </a:r>
            <a:r>
              <a:rPr lang="de-DE" sz="1100"/>
              <a:t> hydrogen?</a:t>
            </a:r>
          </a:p>
          <a:p>
            <a:pPr marL="0" indent="0">
              <a:buNone/>
            </a:pPr>
            <a:r>
              <a:rPr lang="de-DE" sz="1100" err="1"/>
              <a:t>How</a:t>
            </a:r>
            <a:r>
              <a:rPr lang="de-DE" sz="1100"/>
              <a:t> </a:t>
            </a:r>
            <a:r>
              <a:rPr lang="de-DE" sz="1100" err="1"/>
              <a:t>many</a:t>
            </a:r>
            <a:r>
              <a:rPr lang="de-DE" sz="1100"/>
              <a:t> </a:t>
            </a:r>
            <a:r>
              <a:rPr lang="de-DE" sz="1100" err="1"/>
              <a:t>years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you</a:t>
            </a:r>
            <a:r>
              <a:rPr lang="de-DE" sz="1100"/>
              <a:t> </a:t>
            </a:r>
            <a:r>
              <a:rPr lang="de-DE" sz="1100" err="1"/>
              <a:t>use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train</a:t>
            </a:r>
            <a:r>
              <a:rPr lang="de-DE" sz="1100"/>
              <a:t> </a:t>
            </a:r>
            <a:r>
              <a:rPr lang="de-DE" sz="1100" err="1"/>
              <a:t>your</a:t>
            </a:r>
            <a:r>
              <a:rPr lang="de-DE" sz="1100"/>
              <a:t> Markov Chains?</a:t>
            </a:r>
          </a:p>
          <a:p>
            <a:pPr marL="0" indent="0">
              <a:buNone/>
            </a:pPr>
            <a:r>
              <a:rPr lang="de-DE" sz="1100" b="1" u="sng" err="1"/>
              <a:t>Why</a:t>
            </a:r>
            <a:r>
              <a:rPr lang="de-DE" sz="1100" b="1" u="sng"/>
              <a:t> do </a:t>
            </a:r>
            <a:r>
              <a:rPr lang="de-DE" sz="1100" b="1" u="sng" err="1"/>
              <a:t>you</a:t>
            </a:r>
            <a:r>
              <a:rPr lang="de-DE" sz="1100" b="1" u="sng"/>
              <a:t> not </a:t>
            </a:r>
            <a:r>
              <a:rPr lang="de-DE" sz="1100" b="1" u="sng" err="1"/>
              <a:t>consider</a:t>
            </a:r>
            <a:r>
              <a:rPr lang="de-DE" sz="1100" b="1" u="sng"/>
              <a:t> </a:t>
            </a:r>
            <a:r>
              <a:rPr lang="de-DE" sz="1100" b="1" u="sng" err="1"/>
              <a:t>balancing</a:t>
            </a:r>
            <a:r>
              <a:rPr lang="de-DE" sz="1100" b="1" u="sng"/>
              <a:t> </a:t>
            </a:r>
            <a:r>
              <a:rPr lang="de-DE" sz="1100" b="1" u="sng" err="1"/>
              <a:t>markets</a:t>
            </a:r>
            <a:r>
              <a:rPr lang="de-DE" sz="1100" b="1" u="sng"/>
              <a:t>? </a:t>
            </a:r>
            <a:r>
              <a:rPr lang="de-DE" sz="1100" b="1" u="sng" err="1"/>
              <a:t>How</a:t>
            </a:r>
            <a:r>
              <a:rPr lang="de-DE" sz="1100" b="1" u="sng"/>
              <a:t> </a:t>
            </a:r>
            <a:r>
              <a:rPr lang="de-DE" sz="1100" b="1" u="sng" err="1"/>
              <a:t>would</a:t>
            </a:r>
            <a:r>
              <a:rPr lang="de-DE" sz="1100" b="1" u="sng"/>
              <a:t> </a:t>
            </a:r>
            <a:r>
              <a:rPr lang="de-DE" sz="1100" b="1" u="sng" err="1"/>
              <a:t>balancing</a:t>
            </a:r>
            <a:r>
              <a:rPr lang="de-DE" sz="1100" b="1" u="sng"/>
              <a:t> </a:t>
            </a:r>
            <a:r>
              <a:rPr lang="de-DE" sz="1100" b="1" u="sng" err="1"/>
              <a:t>market</a:t>
            </a:r>
            <a:r>
              <a:rPr lang="de-DE" sz="1100" b="1" u="sng"/>
              <a:t> </a:t>
            </a:r>
            <a:r>
              <a:rPr lang="de-DE" sz="1100" b="1" u="sng" err="1"/>
              <a:t>change</a:t>
            </a:r>
            <a:r>
              <a:rPr lang="de-DE" sz="1100" b="1" u="sng"/>
              <a:t> </a:t>
            </a:r>
            <a:r>
              <a:rPr lang="de-DE" sz="1100" b="1" u="sng" err="1"/>
              <a:t>your</a:t>
            </a:r>
            <a:r>
              <a:rPr lang="de-DE" sz="1100" b="1" u="sng"/>
              <a:t> </a:t>
            </a:r>
            <a:r>
              <a:rPr lang="de-DE" sz="1100" b="1" u="sng" err="1"/>
              <a:t>results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 err="1"/>
              <a:t>Results</a:t>
            </a:r>
            <a:r>
              <a:rPr lang="de-DE" sz="1100"/>
              <a:t> </a:t>
            </a:r>
            <a:r>
              <a:rPr lang="de-DE" sz="1100" err="1"/>
              <a:t>from</a:t>
            </a:r>
            <a:r>
              <a:rPr lang="de-DE" sz="1100"/>
              <a:t> </a:t>
            </a:r>
            <a:r>
              <a:rPr lang="de-DE" sz="1100" err="1"/>
              <a:t>literature</a:t>
            </a:r>
            <a:r>
              <a:rPr lang="de-DE" sz="1100"/>
              <a:t> </a:t>
            </a:r>
            <a:r>
              <a:rPr lang="de-DE" sz="1100" err="1"/>
              <a:t>indicate</a:t>
            </a:r>
            <a:r>
              <a:rPr lang="de-DE" sz="1100"/>
              <a:t> </a:t>
            </a:r>
            <a:r>
              <a:rPr lang="de-DE" sz="1100" err="1"/>
              <a:t>that</a:t>
            </a:r>
            <a:r>
              <a:rPr lang="de-DE" sz="1100"/>
              <a:t> </a:t>
            </a:r>
            <a:r>
              <a:rPr lang="de-DE" sz="1100" err="1"/>
              <a:t>providing</a:t>
            </a:r>
            <a:r>
              <a:rPr lang="de-DE" sz="1100"/>
              <a:t> </a:t>
            </a:r>
            <a:r>
              <a:rPr lang="de-DE" sz="1100" err="1"/>
              <a:t>ancillary</a:t>
            </a:r>
            <a:r>
              <a:rPr lang="de-DE" sz="1100"/>
              <a:t> </a:t>
            </a:r>
            <a:r>
              <a:rPr lang="de-DE" sz="1100" err="1"/>
              <a:t>services</a:t>
            </a:r>
            <a:r>
              <a:rPr lang="de-DE" sz="1100"/>
              <a:t> </a:t>
            </a:r>
            <a:r>
              <a:rPr lang="de-DE" sz="1100" err="1"/>
              <a:t>yield</a:t>
            </a:r>
            <a:r>
              <a:rPr lang="de-DE" sz="1100"/>
              <a:t> </a:t>
            </a:r>
            <a:r>
              <a:rPr lang="de-DE" sz="1100" err="1"/>
              <a:t>significant</a:t>
            </a:r>
            <a:r>
              <a:rPr lang="de-DE" sz="1100"/>
              <a:t> </a:t>
            </a:r>
            <a:r>
              <a:rPr lang="de-DE" sz="1100" err="1"/>
              <a:t>revenue</a:t>
            </a:r>
            <a:r>
              <a:rPr lang="de-DE" sz="1100"/>
              <a:t> </a:t>
            </a:r>
            <a:r>
              <a:rPr lang="de-DE" sz="1100" err="1"/>
              <a:t>potentials</a:t>
            </a:r>
            <a:r>
              <a:rPr lang="de-DE" sz="1100"/>
              <a:t> </a:t>
            </a:r>
            <a:r>
              <a:rPr lang="de-DE" sz="1100" err="1"/>
              <a:t>for</a:t>
            </a:r>
            <a:r>
              <a:rPr lang="de-DE" sz="1100"/>
              <a:t> PtG </a:t>
            </a:r>
            <a:r>
              <a:rPr lang="de-DE" sz="1100" err="1"/>
              <a:t>oeprators</a:t>
            </a:r>
            <a:r>
              <a:rPr lang="de-DE" sz="1100"/>
              <a:t>. </a:t>
            </a:r>
            <a:r>
              <a:rPr lang="de-DE" sz="1100" err="1"/>
              <a:t>However</a:t>
            </a:r>
            <a:r>
              <a:rPr lang="de-DE" sz="1100"/>
              <a:t>, </a:t>
            </a:r>
            <a:r>
              <a:rPr lang="de-DE" sz="1100" err="1"/>
              <a:t>this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blur</a:t>
            </a:r>
            <a:r>
              <a:rPr lang="de-DE" sz="1100"/>
              <a:t> </a:t>
            </a:r>
            <a:r>
              <a:rPr lang="de-DE" sz="1100" err="1"/>
              <a:t>our</a:t>
            </a:r>
            <a:r>
              <a:rPr lang="de-DE" sz="1100"/>
              <a:t> </a:t>
            </a:r>
            <a:r>
              <a:rPr lang="de-DE" sz="1100" err="1"/>
              <a:t>results</a:t>
            </a:r>
            <a:r>
              <a:rPr lang="de-DE" sz="1100"/>
              <a:t> </a:t>
            </a:r>
            <a:r>
              <a:rPr lang="de-DE" sz="1100" err="1"/>
              <a:t>focussing</a:t>
            </a:r>
            <a:r>
              <a:rPr lang="de-DE" sz="1100"/>
              <a:t> on </a:t>
            </a:r>
            <a:r>
              <a:rPr lang="de-DE" sz="1100" err="1"/>
              <a:t>the</a:t>
            </a:r>
            <a:r>
              <a:rPr lang="de-DE" sz="1100"/>
              <a:t> temporal </a:t>
            </a:r>
            <a:r>
              <a:rPr lang="de-DE" sz="1100" err="1"/>
              <a:t>correlation</a:t>
            </a:r>
            <a:endParaRPr lang="de-DE" sz="1100"/>
          </a:p>
          <a:p>
            <a:pPr marL="0" indent="0">
              <a:buNone/>
            </a:pPr>
            <a:r>
              <a:rPr lang="de-DE" sz="1100" err="1"/>
              <a:t>What</a:t>
            </a:r>
            <a:r>
              <a:rPr lang="de-DE" sz="1100"/>
              <a:t> </a:t>
            </a:r>
            <a:r>
              <a:rPr lang="de-DE" sz="1100" err="1"/>
              <a:t>size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</a:t>
            </a:r>
            <a:r>
              <a:rPr lang="de-DE" sz="1100" err="1"/>
              <a:t>your</a:t>
            </a:r>
            <a:r>
              <a:rPr lang="de-DE" sz="1100"/>
              <a:t> </a:t>
            </a:r>
            <a:r>
              <a:rPr lang="de-DE" sz="1100" err="1"/>
              <a:t>electrolyzer</a:t>
            </a:r>
            <a:r>
              <a:rPr lang="de-DE" sz="1100"/>
              <a:t>?</a:t>
            </a:r>
          </a:p>
          <a:p>
            <a:pPr marL="0" indent="0">
              <a:buNone/>
            </a:pPr>
            <a:r>
              <a:rPr lang="de-DE" sz="1100" err="1"/>
              <a:t>Why</a:t>
            </a:r>
            <a:r>
              <a:rPr lang="de-DE" sz="1100"/>
              <a:t> </a:t>
            </a:r>
            <a:r>
              <a:rPr lang="de-DE" sz="1100" err="1"/>
              <a:t>have</a:t>
            </a:r>
            <a:r>
              <a:rPr lang="de-DE" sz="1100"/>
              <a:t> </a:t>
            </a:r>
            <a:r>
              <a:rPr lang="de-DE" sz="1100" err="1"/>
              <a:t>you</a:t>
            </a:r>
            <a:r>
              <a:rPr lang="de-DE" sz="1100"/>
              <a:t> </a:t>
            </a:r>
            <a:r>
              <a:rPr lang="de-DE" sz="1100" err="1"/>
              <a:t>choosen</a:t>
            </a:r>
            <a:r>
              <a:rPr lang="de-DE" sz="1100"/>
              <a:t> a sample </a:t>
            </a:r>
            <a:r>
              <a:rPr lang="de-DE" sz="1100" err="1"/>
              <a:t>size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1000?</a:t>
            </a:r>
          </a:p>
          <a:p>
            <a:pPr marL="0" indent="0">
              <a:buNone/>
            </a:pPr>
            <a:r>
              <a:rPr lang="de-DE" sz="1100" b="1" u="sng" err="1"/>
              <a:t>What</a:t>
            </a:r>
            <a:r>
              <a:rPr lang="de-DE" sz="1100" b="1" u="sng"/>
              <a:t> </a:t>
            </a:r>
            <a:r>
              <a:rPr lang="de-DE" sz="1100" b="1" u="sng" err="1"/>
              <a:t>would</a:t>
            </a:r>
            <a:r>
              <a:rPr lang="de-DE" sz="1100" b="1" u="sng"/>
              <a:t> happen in a </a:t>
            </a:r>
            <a:r>
              <a:rPr lang="de-DE" sz="1100" b="1" u="sng" err="1"/>
              <a:t>case</a:t>
            </a:r>
            <a:r>
              <a:rPr lang="de-DE" sz="1100" b="1" u="sng"/>
              <a:t> </a:t>
            </a:r>
            <a:r>
              <a:rPr lang="de-DE" sz="1100" b="1" u="sng" err="1"/>
              <a:t>without</a:t>
            </a:r>
            <a:r>
              <a:rPr lang="de-DE" sz="1100" b="1" u="sng"/>
              <a:t> </a:t>
            </a:r>
            <a:r>
              <a:rPr lang="de-DE" sz="1100" b="1" u="sng" err="1"/>
              <a:t>perfect</a:t>
            </a:r>
            <a:r>
              <a:rPr lang="de-DE" sz="1100" b="1" u="sng"/>
              <a:t> </a:t>
            </a:r>
            <a:r>
              <a:rPr lang="de-DE" sz="1100" b="1" u="sng" err="1"/>
              <a:t>foresight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 err="1"/>
              <a:t>Depending</a:t>
            </a:r>
            <a:r>
              <a:rPr lang="de-DE" sz="1100"/>
              <a:t> on </a:t>
            </a:r>
            <a:r>
              <a:rPr lang="de-DE" sz="1100" err="1"/>
              <a:t>the</a:t>
            </a:r>
            <a:r>
              <a:rPr lang="de-DE" sz="1100"/>
              <a:t> temporal </a:t>
            </a:r>
            <a:r>
              <a:rPr lang="de-DE" sz="1100" err="1"/>
              <a:t>correlation</a:t>
            </a:r>
            <a:r>
              <a:rPr lang="de-DE" sz="1100"/>
              <a:t>; </a:t>
            </a:r>
            <a:r>
              <a:rPr lang="de-DE" sz="1100" err="1"/>
              <a:t>with</a:t>
            </a:r>
            <a:r>
              <a:rPr lang="de-DE" sz="1100"/>
              <a:t> </a:t>
            </a:r>
            <a:r>
              <a:rPr lang="de-DE" sz="1100" err="1"/>
              <a:t>strict</a:t>
            </a:r>
            <a:r>
              <a:rPr lang="de-DE" sz="1100"/>
              <a:t> </a:t>
            </a:r>
            <a:r>
              <a:rPr lang="de-DE" sz="1100" err="1"/>
              <a:t>rules</a:t>
            </a:r>
            <a:r>
              <a:rPr lang="de-DE" sz="1100"/>
              <a:t> (e.g. </a:t>
            </a:r>
            <a:r>
              <a:rPr lang="de-DE" sz="1100" err="1"/>
              <a:t>hourly</a:t>
            </a:r>
            <a:r>
              <a:rPr lang="de-DE" sz="1100"/>
              <a:t>) not </a:t>
            </a:r>
            <a:r>
              <a:rPr lang="de-DE" sz="1100" err="1"/>
              <a:t>too</a:t>
            </a:r>
            <a:r>
              <a:rPr lang="de-DE" sz="1100"/>
              <a:t> </a:t>
            </a:r>
            <a:r>
              <a:rPr lang="de-DE" sz="1100" err="1"/>
              <a:t>much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change</a:t>
            </a:r>
            <a:r>
              <a:rPr lang="de-DE" sz="1100"/>
              <a:t>;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largest</a:t>
            </a:r>
            <a:r>
              <a:rPr lang="de-DE" sz="1100"/>
              <a:t> </a:t>
            </a:r>
            <a:r>
              <a:rPr lang="de-DE" sz="1100" err="1"/>
              <a:t>uncertainty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be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spread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ID and DA </a:t>
            </a:r>
            <a:r>
              <a:rPr lang="de-DE" sz="1100" err="1"/>
              <a:t>prices</a:t>
            </a:r>
            <a:r>
              <a:rPr lang="de-DE" sz="1100"/>
              <a:t>; </a:t>
            </a:r>
            <a:r>
              <a:rPr lang="de-DE" sz="1100" err="1"/>
              <a:t>as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PtG plant </a:t>
            </a:r>
            <a:r>
              <a:rPr lang="de-DE" sz="1100" err="1"/>
              <a:t>can</a:t>
            </a:r>
            <a:r>
              <a:rPr lang="de-DE" sz="1100"/>
              <a:t> </a:t>
            </a:r>
            <a:r>
              <a:rPr lang="de-DE" sz="1100" err="1"/>
              <a:t>ramp</a:t>
            </a:r>
            <a:r>
              <a:rPr lang="de-DE" sz="1100"/>
              <a:t> </a:t>
            </a:r>
            <a:r>
              <a:rPr lang="de-DE" sz="1100" err="1"/>
              <a:t>really</a:t>
            </a:r>
            <a:r>
              <a:rPr lang="de-DE" sz="1100"/>
              <a:t> </a:t>
            </a:r>
            <a:r>
              <a:rPr lang="de-DE" sz="1100" err="1"/>
              <a:t>quickly</a:t>
            </a:r>
            <a:r>
              <a:rPr lang="de-DE" sz="1100"/>
              <a:t>, </a:t>
            </a:r>
            <a:r>
              <a:rPr lang="de-DE" sz="1100" err="1"/>
              <a:t>hedging</a:t>
            </a:r>
            <a:r>
              <a:rPr lang="de-DE" sz="1100"/>
              <a:t> </a:t>
            </a:r>
            <a:r>
              <a:rPr lang="de-DE" sz="1100" err="1"/>
              <a:t>against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ID </a:t>
            </a:r>
            <a:r>
              <a:rPr lang="de-DE" sz="1100" err="1"/>
              <a:t>price</a:t>
            </a:r>
            <a:r>
              <a:rPr lang="de-DE" sz="1100"/>
              <a:t> </a:t>
            </a:r>
            <a:r>
              <a:rPr lang="de-DE" sz="1100" err="1"/>
              <a:t>is</a:t>
            </a:r>
            <a:r>
              <a:rPr lang="de-DE" sz="1100"/>
              <a:t> </a:t>
            </a:r>
            <a:r>
              <a:rPr lang="de-DE" sz="1100" err="1"/>
              <a:t>always</a:t>
            </a:r>
            <a:r>
              <a:rPr lang="de-DE" sz="1100"/>
              <a:t> a </a:t>
            </a:r>
            <a:r>
              <a:rPr lang="de-DE" sz="1100" err="1"/>
              <a:t>realistic</a:t>
            </a:r>
            <a:r>
              <a:rPr lang="de-DE" sz="1100"/>
              <a:t> </a:t>
            </a:r>
            <a:r>
              <a:rPr lang="de-DE" sz="1100" err="1"/>
              <a:t>option</a:t>
            </a:r>
            <a:r>
              <a:rPr lang="de-DE" sz="1100"/>
              <a:t>; </a:t>
            </a:r>
          </a:p>
          <a:p>
            <a:pPr marL="0" indent="0">
              <a:buNone/>
            </a:pPr>
            <a:r>
              <a:rPr lang="de-DE" sz="1100" err="1"/>
              <a:t>How</a:t>
            </a:r>
            <a:r>
              <a:rPr lang="de-DE" sz="1100"/>
              <a:t> do </a:t>
            </a:r>
            <a:r>
              <a:rPr lang="de-DE" sz="1100" err="1"/>
              <a:t>you</a:t>
            </a:r>
            <a:r>
              <a:rPr lang="de-DE" sz="1100"/>
              <a:t> </a:t>
            </a:r>
            <a:r>
              <a:rPr lang="de-DE" sz="1100" err="1"/>
              <a:t>consider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opportunity</a:t>
            </a:r>
            <a:r>
              <a:rPr lang="de-DE" sz="1100"/>
              <a:t> </a:t>
            </a:r>
            <a:r>
              <a:rPr lang="de-DE" sz="1100" err="1"/>
              <a:t>costs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electrolyzer</a:t>
            </a:r>
            <a:r>
              <a:rPr lang="de-DE" sz="1100"/>
              <a:t> </a:t>
            </a:r>
            <a:r>
              <a:rPr lang="de-DE" sz="1100" err="1"/>
              <a:t>operator</a:t>
            </a:r>
            <a:r>
              <a:rPr lang="de-DE" sz="1100"/>
              <a:t>?</a:t>
            </a:r>
          </a:p>
          <a:p>
            <a:pPr marL="0" indent="0">
              <a:buNone/>
            </a:pPr>
            <a:r>
              <a:rPr lang="de-DE" sz="1100" b="1" u="sng" err="1"/>
              <a:t>What</a:t>
            </a:r>
            <a:r>
              <a:rPr lang="de-DE" sz="1100" b="1" u="sng"/>
              <a:t> </a:t>
            </a:r>
            <a:r>
              <a:rPr lang="de-DE" sz="1100" b="1" u="sng" err="1"/>
              <a:t>is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</a:t>
            </a:r>
            <a:r>
              <a:rPr lang="de-DE" sz="1100" b="1" u="sng" err="1"/>
              <a:t>value-added</a:t>
            </a:r>
            <a:r>
              <a:rPr lang="de-DE" sz="1100" b="1" u="sng"/>
              <a:t> </a:t>
            </a:r>
            <a:r>
              <a:rPr lang="de-DE" sz="1100" b="1" u="sng" err="1"/>
              <a:t>of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Monte Carlo Method </a:t>
            </a:r>
            <a:r>
              <a:rPr lang="de-DE" sz="1100" b="1" u="sng" err="1"/>
              <a:t>to</a:t>
            </a:r>
            <a:r>
              <a:rPr lang="de-DE" sz="1100" b="1" u="sng"/>
              <a:t> </a:t>
            </a:r>
            <a:r>
              <a:rPr lang="de-DE" sz="1100" b="1" u="sng" err="1"/>
              <a:t>your</a:t>
            </a:r>
            <a:r>
              <a:rPr lang="de-DE" sz="1100" b="1" u="sng"/>
              <a:t> </a:t>
            </a:r>
            <a:r>
              <a:rPr lang="de-DE" sz="1100" b="1" u="sng" err="1"/>
              <a:t>research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/>
              <a:t>Cover different wind </a:t>
            </a:r>
            <a:r>
              <a:rPr lang="de-DE" sz="1100" err="1"/>
              <a:t>feed</a:t>
            </a:r>
            <a:r>
              <a:rPr lang="de-DE" sz="1100"/>
              <a:t>-in </a:t>
            </a:r>
            <a:r>
              <a:rPr lang="de-DE" sz="1100" err="1"/>
              <a:t>scenarios</a:t>
            </a:r>
            <a:r>
              <a:rPr lang="de-DE" sz="1100"/>
              <a:t> and </a:t>
            </a:r>
            <a:r>
              <a:rPr lang="de-DE" sz="1100" err="1"/>
              <a:t>showing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dependence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PtG </a:t>
            </a:r>
            <a:r>
              <a:rPr lang="de-DE" sz="1100" err="1"/>
              <a:t>profitability</a:t>
            </a:r>
            <a:r>
              <a:rPr lang="de-DE" sz="1100"/>
              <a:t> on </a:t>
            </a:r>
            <a:r>
              <a:rPr lang="de-DE" sz="1100" err="1"/>
              <a:t>the</a:t>
            </a:r>
            <a:r>
              <a:rPr lang="de-DE" sz="1100"/>
              <a:t> wind </a:t>
            </a:r>
            <a:r>
              <a:rPr lang="de-DE" sz="1100" err="1"/>
              <a:t>generation</a:t>
            </a:r>
            <a:endParaRPr lang="de-DE" sz="1100"/>
          </a:p>
          <a:p>
            <a:pPr marL="0" indent="0">
              <a:buNone/>
            </a:pPr>
            <a:r>
              <a:rPr lang="de-DE" sz="1100" b="1" u="sng" err="1"/>
              <a:t>How</a:t>
            </a:r>
            <a:r>
              <a:rPr lang="de-DE" sz="1100" b="1" u="sng"/>
              <a:t> sensitive </a:t>
            </a:r>
            <a:r>
              <a:rPr lang="de-DE" sz="1100" b="1" u="sng" err="1"/>
              <a:t>are</a:t>
            </a:r>
            <a:r>
              <a:rPr lang="de-DE" sz="1100" b="1" u="sng"/>
              <a:t> </a:t>
            </a:r>
            <a:r>
              <a:rPr lang="de-DE" sz="1100" b="1" u="sng" err="1"/>
              <a:t>your</a:t>
            </a:r>
            <a:r>
              <a:rPr lang="de-DE" sz="1100" b="1" u="sng"/>
              <a:t> </a:t>
            </a:r>
            <a:r>
              <a:rPr lang="de-DE" sz="1100" b="1" u="sng" err="1"/>
              <a:t>results</a:t>
            </a:r>
            <a:r>
              <a:rPr lang="de-DE" sz="1100" b="1" u="sng"/>
              <a:t> </a:t>
            </a:r>
            <a:r>
              <a:rPr lang="de-DE" sz="1100" b="1" u="sng" err="1"/>
              <a:t>to</a:t>
            </a:r>
            <a:r>
              <a:rPr lang="de-DE" sz="1100" b="1" u="sng"/>
              <a:t> </a:t>
            </a:r>
            <a:r>
              <a:rPr lang="de-DE" sz="1100" b="1" u="sng" err="1"/>
              <a:t>this</a:t>
            </a:r>
            <a:r>
              <a:rPr lang="de-DE" sz="1100" b="1" u="sng"/>
              <a:t> </a:t>
            </a:r>
            <a:r>
              <a:rPr lang="de-DE" sz="1100" b="1" u="sng" err="1"/>
              <a:t>assumption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/>
              <a:t>Very sensitive </a:t>
            </a:r>
            <a:r>
              <a:rPr lang="de-DE" sz="1100" err="1"/>
              <a:t>against</a:t>
            </a:r>
            <a:r>
              <a:rPr lang="de-DE" sz="1100"/>
              <a:t> CAPEX </a:t>
            </a:r>
            <a:r>
              <a:rPr lang="de-DE" sz="1100" err="1"/>
              <a:t>assumptions</a:t>
            </a:r>
            <a:r>
              <a:rPr lang="de-DE" sz="1100"/>
              <a:t> and hydrogen </a:t>
            </a:r>
            <a:r>
              <a:rPr lang="de-DE" sz="1100" err="1"/>
              <a:t>benchmarks</a:t>
            </a:r>
            <a:r>
              <a:rPr lang="de-DE" sz="1100"/>
              <a:t> </a:t>
            </a:r>
            <a:r>
              <a:rPr lang="de-DE" sz="1100" err="1"/>
              <a:t>prices</a:t>
            </a:r>
            <a:endParaRPr lang="de-DE" sz="1100"/>
          </a:p>
          <a:p>
            <a:pPr marL="0" indent="0">
              <a:buNone/>
            </a:pPr>
            <a:r>
              <a:rPr lang="de-DE" sz="1100" err="1"/>
              <a:t>Why</a:t>
            </a:r>
            <a:r>
              <a:rPr lang="de-DE" sz="1100"/>
              <a:t> do </a:t>
            </a:r>
            <a:r>
              <a:rPr lang="de-DE" sz="1100" err="1"/>
              <a:t>you</a:t>
            </a:r>
            <a:r>
              <a:rPr lang="de-DE" sz="1100"/>
              <a:t> not </a:t>
            </a:r>
            <a:r>
              <a:rPr lang="de-DE" sz="1100" err="1"/>
              <a:t>model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residuals</a:t>
            </a:r>
            <a:r>
              <a:rPr lang="de-DE" sz="1100"/>
              <a:t> in </a:t>
            </a:r>
            <a:r>
              <a:rPr lang="de-DE" sz="1100" err="1"/>
              <a:t>your</a:t>
            </a:r>
            <a:r>
              <a:rPr lang="de-DE" sz="1100"/>
              <a:t> </a:t>
            </a:r>
            <a:r>
              <a:rPr lang="de-DE" sz="1100" err="1"/>
              <a:t>price</a:t>
            </a:r>
            <a:r>
              <a:rPr lang="de-DE" sz="1100"/>
              <a:t> </a:t>
            </a:r>
            <a:r>
              <a:rPr lang="de-DE" sz="1100" err="1"/>
              <a:t>regressions</a:t>
            </a:r>
            <a:r>
              <a:rPr lang="de-DE" sz="1100"/>
              <a:t>?</a:t>
            </a:r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26792689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2551C6-E2A5-4093-ABC5-2A279FFBE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Q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B41C6A-604C-4E71-B0C5-3635287E48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628775"/>
            <a:ext cx="10515599" cy="4548188"/>
          </a:xfrm>
        </p:spPr>
        <p:txBody>
          <a:bodyPr/>
          <a:lstStyle/>
          <a:p>
            <a:pPr marL="0" indent="0">
              <a:buNone/>
            </a:pPr>
            <a:r>
              <a:rPr lang="de-DE" sz="1100" b="1" u="sng" err="1"/>
              <a:t>How</a:t>
            </a:r>
            <a:r>
              <a:rPr lang="de-DE" sz="1100" b="1" u="sng"/>
              <a:t> valid </a:t>
            </a:r>
            <a:r>
              <a:rPr lang="de-DE" sz="1100" b="1" u="sng" err="1"/>
              <a:t>is</a:t>
            </a:r>
            <a:r>
              <a:rPr lang="de-DE" sz="1100" b="1" u="sng"/>
              <a:t> </a:t>
            </a:r>
            <a:r>
              <a:rPr lang="de-DE" sz="1100" b="1" u="sng" err="1"/>
              <a:t>the</a:t>
            </a:r>
            <a:r>
              <a:rPr lang="de-DE" sz="1100" b="1" u="sng"/>
              <a:t> </a:t>
            </a:r>
            <a:r>
              <a:rPr lang="de-DE" sz="1100" b="1" u="sng" err="1"/>
              <a:t>price-taker</a:t>
            </a:r>
            <a:r>
              <a:rPr lang="de-DE" sz="1100" b="1" u="sng"/>
              <a:t> </a:t>
            </a:r>
            <a:r>
              <a:rPr lang="de-DE" sz="1100" b="1" u="sng" err="1"/>
              <a:t>assumption</a:t>
            </a:r>
            <a:r>
              <a:rPr lang="de-DE" sz="1100" b="1" u="sng"/>
              <a:t>?</a:t>
            </a:r>
          </a:p>
          <a:p>
            <a:pPr marL="0" indent="0">
              <a:buNone/>
            </a:pPr>
            <a:r>
              <a:rPr lang="de-DE" sz="1100"/>
              <a:t>As </a:t>
            </a:r>
            <a:r>
              <a:rPr lang="de-DE" sz="1100" err="1"/>
              <a:t>niche</a:t>
            </a:r>
            <a:r>
              <a:rPr lang="de-DE" sz="1100"/>
              <a:t>-technology (at least in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midterm</a:t>
            </a:r>
            <a:r>
              <a:rPr lang="de-DE" sz="1100"/>
              <a:t>) will </a:t>
            </a:r>
            <a:r>
              <a:rPr lang="de-DE" sz="1100" err="1"/>
              <a:t>remain</a:t>
            </a:r>
            <a:r>
              <a:rPr lang="de-DE" sz="1100"/>
              <a:t> a </a:t>
            </a:r>
            <a:r>
              <a:rPr lang="de-DE" sz="1100" err="1"/>
              <a:t>price-taker</a:t>
            </a:r>
            <a:r>
              <a:rPr lang="de-DE" sz="1100"/>
              <a:t>. </a:t>
            </a:r>
            <a:r>
              <a:rPr lang="de-DE" sz="1100" err="1"/>
              <a:t>Interesting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be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observe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intraday-markets</a:t>
            </a:r>
            <a:r>
              <a:rPr lang="de-DE" sz="1100"/>
              <a:t> </a:t>
            </a:r>
            <a:r>
              <a:rPr lang="de-DE" sz="1100" err="1"/>
              <a:t>as</a:t>
            </a:r>
            <a:r>
              <a:rPr lang="de-DE" sz="1100"/>
              <a:t> </a:t>
            </a:r>
            <a:r>
              <a:rPr lang="de-DE" sz="1100" err="1"/>
              <a:t>electrolyzer</a:t>
            </a:r>
            <a:r>
              <a:rPr lang="de-DE" sz="1100"/>
              <a:t> </a:t>
            </a:r>
            <a:r>
              <a:rPr lang="de-DE" sz="1100" err="1"/>
              <a:t>may</a:t>
            </a:r>
            <a:r>
              <a:rPr lang="de-DE" sz="1100"/>
              <a:t> </a:t>
            </a:r>
            <a:r>
              <a:rPr lang="de-DE" sz="1100" err="1"/>
              <a:t>harvest</a:t>
            </a:r>
            <a:r>
              <a:rPr lang="de-DE" sz="1100"/>
              <a:t> </a:t>
            </a:r>
            <a:r>
              <a:rPr lang="de-DE" sz="1100" err="1"/>
              <a:t>particularly</a:t>
            </a:r>
            <a:r>
              <a:rPr lang="de-DE" sz="1100"/>
              <a:t> </a:t>
            </a:r>
            <a:r>
              <a:rPr lang="de-DE" sz="1100" err="1"/>
              <a:t>low</a:t>
            </a:r>
            <a:r>
              <a:rPr lang="de-DE" sz="1100"/>
              <a:t> </a:t>
            </a:r>
            <a:r>
              <a:rPr lang="de-DE" sz="1100" err="1"/>
              <a:t>prices</a:t>
            </a:r>
            <a:r>
              <a:rPr lang="de-DE" sz="1100"/>
              <a:t> on </a:t>
            </a:r>
            <a:r>
              <a:rPr lang="de-DE" sz="1100" err="1"/>
              <a:t>it</a:t>
            </a:r>
            <a:r>
              <a:rPr lang="de-DE" sz="1100"/>
              <a:t> due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their</a:t>
            </a:r>
            <a:r>
              <a:rPr lang="de-DE" sz="1100"/>
              <a:t> fast </a:t>
            </a:r>
            <a:r>
              <a:rPr lang="de-DE" sz="1100" err="1"/>
              <a:t>ramping</a:t>
            </a:r>
            <a:r>
              <a:rPr lang="de-DE" sz="1100"/>
              <a:t> capabilities.2019 91.6 TWh </a:t>
            </a:r>
            <a:r>
              <a:rPr lang="de-DE" sz="1100" err="1"/>
              <a:t>have</a:t>
            </a:r>
            <a:r>
              <a:rPr lang="de-DE" sz="1100"/>
              <a:t> </a:t>
            </a:r>
            <a:r>
              <a:rPr lang="de-DE" sz="1100" err="1"/>
              <a:t>been</a:t>
            </a:r>
            <a:r>
              <a:rPr lang="de-DE" sz="1100"/>
              <a:t> </a:t>
            </a:r>
            <a:r>
              <a:rPr lang="de-DE" sz="1100" err="1"/>
              <a:t>traded</a:t>
            </a:r>
            <a:r>
              <a:rPr lang="de-DE" sz="1100"/>
              <a:t> on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intraday</a:t>
            </a:r>
            <a:r>
              <a:rPr lang="de-DE" sz="1100"/>
              <a:t> </a:t>
            </a:r>
            <a:r>
              <a:rPr lang="de-DE" sz="1100" err="1"/>
              <a:t>market</a:t>
            </a:r>
            <a:r>
              <a:rPr lang="de-DE" sz="1100"/>
              <a:t>. In </a:t>
            </a:r>
            <a:r>
              <a:rPr lang="de-DE" sz="1100" err="1"/>
              <a:t>case</a:t>
            </a:r>
            <a:r>
              <a:rPr lang="de-DE" sz="1100"/>
              <a:t> 5 GW </a:t>
            </a:r>
            <a:r>
              <a:rPr lang="de-DE" sz="1100" err="1"/>
              <a:t>of</a:t>
            </a:r>
            <a:r>
              <a:rPr lang="de-DE" sz="1100"/>
              <a:t> </a:t>
            </a:r>
            <a:r>
              <a:rPr lang="de-DE" sz="1100" err="1"/>
              <a:t>electrolyzer</a:t>
            </a:r>
            <a:r>
              <a:rPr lang="de-DE" sz="1100"/>
              <a:t> </a:t>
            </a:r>
            <a:r>
              <a:rPr lang="de-DE" sz="1100" err="1"/>
              <a:t>capacity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run</a:t>
            </a:r>
            <a:r>
              <a:rPr lang="de-DE" sz="1100"/>
              <a:t> 8760 </a:t>
            </a:r>
            <a:r>
              <a:rPr lang="de-DE" sz="1100" err="1"/>
              <a:t>hours</a:t>
            </a:r>
            <a:r>
              <a:rPr lang="de-DE" sz="1100"/>
              <a:t> </a:t>
            </a:r>
            <a:r>
              <a:rPr lang="de-DE" sz="1100" err="1"/>
              <a:t>they</a:t>
            </a:r>
            <a:r>
              <a:rPr lang="de-DE" sz="1100"/>
              <a:t> </a:t>
            </a:r>
            <a:r>
              <a:rPr lang="de-DE" sz="1100" err="1"/>
              <a:t>would</a:t>
            </a:r>
            <a:r>
              <a:rPr lang="de-DE" sz="1100"/>
              <a:t> </a:t>
            </a:r>
            <a:r>
              <a:rPr lang="de-DE" sz="1100" err="1"/>
              <a:t>consume</a:t>
            </a:r>
            <a:r>
              <a:rPr lang="de-DE" sz="1100"/>
              <a:t> 43,8 TWh. </a:t>
            </a:r>
            <a:r>
              <a:rPr lang="de-DE" sz="1100" err="1"/>
              <a:t>That</a:t>
            </a:r>
            <a:r>
              <a:rPr lang="de-DE" sz="1100"/>
              <a:t> </a:t>
            </a:r>
            <a:r>
              <a:rPr lang="de-DE" sz="1100" err="1"/>
              <a:t>could</a:t>
            </a:r>
            <a:r>
              <a:rPr lang="de-DE" sz="1100"/>
              <a:t> </a:t>
            </a:r>
            <a:r>
              <a:rPr lang="de-DE" sz="1100" err="1"/>
              <a:t>make</a:t>
            </a:r>
            <a:r>
              <a:rPr lang="de-DE" sz="1100"/>
              <a:t> a </a:t>
            </a:r>
            <a:r>
              <a:rPr lang="de-DE" sz="1100" err="1"/>
              <a:t>considerable</a:t>
            </a:r>
            <a:r>
              <a:rPr lang="de-DE" sz="1100"/>
              <a:t> </a:t>
            </a:r>
            <a:r>
              <a:rPr lang="de-DE" sz="1100" err="1"/>
              <a:t>share</a:t>
            </a:r>
            <a:r>
              <a:rPr lang="de-DE" sz="1100"/>
              <a:t> </a:t>
            </a:r>
            <a:r>
              <a:rPr lang="de-DE" sz="1100" err="1"/>
              <a:t>of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intraday-prices</a:t>
            </a:r>
            <a:r>
              <a:rPr lang="de-DE" sz="1100"/>
              <a:t>.</a:t>
            </a:r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3642555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0062B284-37BE-473F-9B6B-C74668EFC0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867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0062B284-37BE-473F-9B6B-C74668EFC0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317863B-24CA-45B0-871D-01352D5B2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CBFA281-9984-4D1D-9084-C4ECA40CB6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74713" y="1628775"/>
            <a:ext cx="6341096" cy="4548188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de-DE" sz="2000" dirty="0"/>
              <a:t>Elektrolyseure befinden sich an der Schnittstelle zwischen Strom- und Gas/Wasserstoffsystemen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de-DE" sz="2000" dirty="0"/>
              <a:t>Unterschiedliche Strombezugsoptionen sind denkbar (netzgekoppelt vs. direkt)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de-DE" sz="2000" dirty="0"/>
              <a:t>Netzgekoppelte Elektrolyseure sind vertikal mit dem Stromsystem integriert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de-DE" sz="2000" dirty="0"/>
              <a:t>Physisch bestehen keine Einschränkungen im Betrieb, wirtschaftliche Grenzen durch Strommarkt (und ggf. Regulierung) gegeben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3922B24-8FE5-43E6-BCA1-92B113245AB5}"/>
              </a:ext>
            </a:extLst>
          </p:cNvPr>
          <p:cNvGrpSpPr/>
          <p:nvPr/>
        </p:nvGrpSpPr>
        <p:grpSpPr>
          <a:xfrm>
            <a:off x="8318276" y="1664477"/>
            <a:ext cx="1815329" cy="775256"/>
            <a:chOff x="8663593" y="1767587"/>
            <a:chExt cx="1815329" cy="775256"/>
          </a:xfrm>
        </p:grpSpPr>
        <p:sp>
          <p:nvSpPr>
            <p:cNvPr id="12" name="Abgerundetes Rechteck 39">
              <a:extLst>
                <a:ext uri="{FF2B5EF4-FFF2-40B4-BE49-F238E27FC236}">
                  <a16:creationId xmlns:a16="http://schemas.microsoft.com/office/drawing/2014/main" id="{C398DA24-6CD7-484F-8CED-8EA458186855}"/>
                </a:ext>
              </a:extLst>
            </p:cNvPr>
            <p:cNvSpPr/>
            <p:nvPr/>
          </p:nvSpPr>
          <p:spPr>
            <a:xfrm>
              <a:off x="8663593" y="1767587"/>
              <a:ext cx="1815329" cy="775256"/>
            </a:xfrm>
            <a:prstGeom prst="roundRect">
              <a:avLst/>
            </a:prstGeom>
            <a:solidFill>
              <a:srgbClr val="457A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sz="1600" dirty="0"/>
                <a:t>EE-Erzeugung</a:t>
              </a:r>
            </a:p>
          </p:txBody>
        </p:sp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CEB1D72E-173D-445C-B324-2D007F938D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1074" y="2074191"/>
              <a:ext cx="442208" cy="427638"/>
            </a:xfrm>
            <a:prstGeom prst="rect">
              <a:avLst/>
            </a:prstGeom>
            <a:noFill/>
            <a:effectLst/>
          </p:spPr>
        </p:pic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FF8EE046-CAAD-49A0-BA2B-1D59D8DF7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17080" y="2093353"/>
              <a:ext cx="402578" cy="389314"/>
            </a:xfrm>
            <a:prstGeom prst="rect">
              <a:avLst/>
            </a:prstGeom>
            <a:noFill/>
            <a:effectLst/>
          </p:spPr>
        </p:pic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1F3B635F-F688-4144-AE3F-33D8363686F5}"/>
              </a:ext>
            </a:extLst>
          </p:cNvPr>
          <p:cNvGrpSpPr/>
          <p:nvPr/>
        </p:nvGrpSpPr>
        <p:grpSpPr>
          <a:xfrm>
            <a:off x="10222290" y="1674105"/>
            <a:ext cx="756000" cy="756000"/>
            <a:chOff x="11116410" y="3334546"/>
            <a:chExt cx="756000" cy="756000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6A0ED6DD-8DA2-4598-ACC4-6C4C01BE7CB9}"/>
                </a:ext>
              </a:extLst>
            </p:cNvPr>
            <p:cNvSpPr/>
            <p:nvPr/>
          </p:nvSpPr>
          <p:spPr>
            <a:xfrm>
              <a:off x="11116410" y="3334546"/>
              <a:ext cx="756000" cy="75600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85CFA2E7-07DF-4BE2-AE01-682653640012}"/>
                </a:ext>
              </a:extLst>
            </p:cNvPr>
            <p:cNvGrpSpPr/>
            <p:nvPr/>
          </p:nvGrpSpPr>
          <p:grpSpPr>
            <a:xfrm>
              <a:off x="11259762" y="3402032"/>
              <a:ext cx="469296" cy="621028"/>
              <a:chOff x="1554311" y="4186169"/>
              <a:chExt cx="469296" cy="621028"/>
            </a:xfrm>
          </p:grpSpPr>
          <p:pic>
            <p:nvPicPr>
              <p:cNvPr id="65" name="Grafik 64">
                <a:extLst>
                  <a:ext uri="{FF2B5EF4-FFF2-40B4-BE49-F238E27FC236}">
                    <a16:creationId xmlns:a16="http://schemas.microsoft.com/office/drawing/2014/main" id="{90277EF7-8FB4-4425-AC5D-E7688249E6F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994" r="32933"/>
              <a:stretch/>
            </p:blipFill>
            <p:spPr>
              <a:xfrm flipH="1">
                <a:off x="1852462" y="4495610"/>
                <a:ext cx="171145" cy="308526"/>
              </a:xfrm>
              <a:prstGeom prst="rect">
                <a:avLst/>
              </a:prstGeom>
            </p:spPr>
          </p:pic>
          <p:pic>
            <p:nvPicPr>
              <p:cNvPr id="66" name="Grafik 65">
                <a:extLst>
                  <a:ext uri="{FF2B5EF4-FFF2-40B4-BE49-F238E27FC236}">
                    <a16:creationId xmlns:a16="http://schemas.microsoft.com/office/drawing/2014/main" id="{398882EC-97A0-45AA-9219-7017C32855D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714" r="35418"/>
              <a:stretch/>
            </p:blipFill>
            <p:spPr>
              <a:xfrm flipH="1">
                <a:off x="1554311" y="4498671"/>
                <a:ext cx="159735" cy="308526"/>
              </a:xfrm>
              <a:prstGeom prst="rect">
                <a:avLst/>
              </a:prstGeom>
            </p:spPr>
          </p:pic>
          <p:cxnSp>
            <p:nvCxnSpPr>
              <p:cNvPr id="67" name="Gewinkelte Verbindung 80">
                <a:extLst>
                  <a:ext uri="{FF2B5EF4-FFF2-40B4-BE49-F238E27FC236}">
                    <a16:creationId xmlns:a16="http://schemas.microsoft.com/office/drawing/2014/main" id="{0065FB3C-8933-48CD-BDFF-A6FC0AEAF52D}"/>
                  </a:ext>
                </a:extLst>
              </p:cNvPr>
              <p:cNvCxnSpPr>
                <a:stCxn id="66" idx="0"/>
                <a:endCxn id="65" idx="0"/>
              </p:cNvCxnSpPr>
              <p:nvPr/>
            </p:nvCxnSpPr>
            <p:spPr>
              <a:xfrm rot="5400000" flipH="1" flipV="1">
                <a:off x="1784576" y="4345213"/>
                <a:ext cx="3061" cy="303855"/>
              </a:xfrm>
              <a:prstGeom prst="bentConnector3">
                <a:avLst>
                  <a:gd name="adj1" fmla="val 2100117"/>
                </a:avLst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151EF22F-6546-46B2-A59A-CA777817E61A}"/>
                  </a:ext>
                </a:extLst>
              </p:cNvPr>
              <p:cNvSpPr txBox="1"/>
              <p:nvPr/>
            </p:nvSpPr>
            <p:spPr>
              <a:xfrm>
                <a:off x="1589598" y="4186169"/>
                <a:ext cx="89160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/>
              <a:p>
                <a:pPr algn="ctr"/>
                <a:r>
                  <a:rPr lang="de-DE" b="1">
                    <a:latin typeface="Trebuchet MS" panose="020B0603020202020204" pitchFamily="34" charset="0"/>
                    <a:cs typeface="Arial"/>
                  </a:rPr>
                  <a:t>+</a:t>
                </a:r>
                <a:endParaRPr lang="de-DE" sz="2400" b="1" baseline="-25000">
                  <a:latin typeface="Trebuchet MS" panose="020B0603020202020204" pitchFamily="34" charset="0"/>
                  <a:cs typeface="Arial"/>
                </a:endParaRPr>
              </a:p>
            </p:txBody>
          </p:sp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C4A136B-BC57-4DC9-A9CC-889265CE97A3}"/>
                  </a:ext>
                </a:extLst>
              </p:cNvPr>
              <p:cNvSpPr txBox="1"/>
              <p:nvPr/>
            </p:nvSpPr>
            <p:spPr>
              <a:xfrm>
                <a:off x="1875312" y="4186170"/>
                <a:ext cx="130153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/>
              <a:p>
                <a:pPr algn="ctr"/>
                <a:r>
                  <a:rPr lang="de-DE" b="1">
                    <a:latin typeface="Trebuchet MS" panose="020B0603020202020204" pitchFamily="34" charset="0"/>
                    <a:cs typeface="Arial"/>
                  </a:rPr>
                  <a:t>-</a:t>
                </a:r>
                <a:endParaRPr lang="de-DE" sz="2400" b="1" baseline="-25000">
                  <a:latin typeface="Trebuchet MS" panose="020B0603020202020204" pitchFamily="34" charset="0"/>
                  <a:cs typeface="Arial"/>
                </a:endParaRPr>
              </a:p>
            </p:txBody>
          </p:sp>
        </p:grpSp>
      </p:grpSp>
      <p:sp>
        <p:nvSpPr>
          <p:cNvPr id="34" name="TextBox 6">
            <a:extLst>
              <a:ext uri="{FF2B5EF4-FFF2-40B4-BE49-F238E27FC236}">
                <a16:creationId xmlns:a16="http://schemas.microsoft.com/office/drawing/2014/main" id="{30585438-D2A7-43EC-A7DA-A5C085BBBAF0}"/>
              </a:ext>
            </a:extLst>
          </p:cNvPr>
          <p:cNvSpPr txBox="1"/>
          <p:nvPr/>
        </p:nvSpPr>
        <p:spPr>
          <a:xfrm>
            <a:off x="838200" y="6181815"/>
            <a:ext cx="4479401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cs typeface="Calibri"/>
              </a:rPr>
              <a:t>Source: </a:t>
            </a:r>
            <a:r>
              <a:rPr lang="en-US" sz="900" err="1">
                <a:cs typeface="Calibri"/>
              </a:rPr>
              <a:t>dena</a:t>
            </a:r>
            <a:r>
              <a:rPr lang="en-US" sz="900">
                <a:cs typeface="Calibri"/>
              </a:rPr>
              <a:t> (2018), EWI/IAEW (2020)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2AABBE1B-1399-4F03-B43B-86FEB7079495}"/>
              </a:ext>
            </a:extLst>
          </p:cNvPr>
          <p:cNvGrpSpPr/>
          <p:nvPr/>
        </p:nvGrpSpPr>
        <p:grpSpPr>
          <a:xfrm>
            <a:off x="7286275" y="2820327"/>
            <a:ext cx="1447200" cy="891839"/>
            <a:chOff x="7563251" y="2721624"/>
            <a:chExt cx="1447200" cy="891839"/>
          </a:xfrm>
        </p:grpSpPr>
        <p:sp>
          <p:nvSpPr>
            <p:cNvPr id="70" name="Abgerundetes Rechteck 39">
              <a:extLst>
                <a:ext uri="{FF2B5EF4-FFF2-40B4-BE49-F238E27FC236}">
                  <a16:creationId xmlns:a16="http://schemas.microsoft.com/office/drawing/2014/main" id="{63A10342-68FC-468E-A92A-0B338FD3D3DE}"/>
                </a:ext>
              </a:extLst>
            </p:cNvPr>
            <p:cNvSpPr/>
            <p:nvPr/>
          </p:nvSpPr>
          <p:spPr>
            <a:xfrm>
              <a:off x="7563251" y="2721624"/>
              <a:ext cx="1447200" cy="891839"/>
            </a:xfrm>
            <a:prstGeom prst="roundRect">
              <a:avLst/>
            </a:prstGeom>
            <a:solidFill>
              <a:srgbClr val="457A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sz="1600" dirty="0"/>
                <a:t>Stromnetz</a:t>
              </a:r>
            </a:p>
          </p:txBody>
        </p:sp>
        <p:pic>
          <p:nvPicPr>
            <p:cNvPr id="73" name="Grafik 72" descr="Strommast mit einfarbiger Füllung">
              <a:extLst>
                <a:ext uri="{FF2B5EF4-FFF2-40B4-BE49-F238E27FC236}">
                  <a16:creationId xmlns:a16="http://schemas.microsoft.com/office/drawing/2014/main" id="{360D0266-5062-46CF-951E-8F6D7036D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001496" y="3017045"/>
              <a:ext cx="570711" cy="570711"/>
            </a:xfrm>
            <a:prstGeom prst="rect">
              <a:avLst/>
            </a:prstGeom>
          </p:spPr>
        </p:pic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16B0D3C0-6D1B-46E0-BCA9-36192D210915}"/>
              </a:ext>
            </a:extLst>
          </p:cNvPr>
          <p:cNvGrpSpPr/>
          <p:nvPr/>
        </p:nvGrpSpPr>
        <p:grpSpPr>
          <a:xfrm>
            <a:off x="9587588" y="2820326"/>
            <a:ext cx="1447200" cy="891839"/>
            <a:chOff x="7563251" y="2721624"/>
            <a:chExt cx="1447200" cy="891839"/>
          </a:xfrm>
        </p:grpSpPr>
        <p:sp>
          <p:nvSpPr>
            <p:cNvPr id="77" name="Abgerundetes Rechteck 39">
              <a:extLst>
                <a:ext uri="{FF2B5EF4-FFF2-40B4-BE49-F238E27FC236}">
                  <a16:creationId xmlns:a16="http://schemas.microsoft.com/office/drawing/2014/main" id="{E7420639-9DA0-45A7-B907-3A6D29D06F6A}"/>
                </a:ext>
              </a:extLst>
            </p:cNvPr>
            <p:cNvSpPr/>
            <p:nvPr/>
          </p:nvSpPr>
          <p:spPr>
            <a:xfrm>
              <a:off x="7563251" y="2721624"/>
              <a:ext cx="1447200" cy="891839"/>
            </a:xfrm>
            <a:prstGeom prst="roundRect">
              <a:avLst/>
            </a:prstGeom>
            <a:solidFill>
              <a:srgbClr val="457A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sz="1600" dirty="0"/>
                <a:t>Strommarkt</a:t>
              </a:r>
            </a:p>
          </p:txBody>
        </p:sp>
        <p:pic>
          <p:nvPicPr>
            <p:cNvPr id="78" name="Grafik 77">
              <a:extLst>
                <a:ext uri="{FF2B5EF4-FFF2-40B4-BE49-F238E27FC236}">
                  <a16:creationId xmlns:a16="http://schemas.microsoft.com/office/drawing/2014/main" id="{2AE5B664-A210-40B5-8568-7FDF02D86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8001496" y="3017045"/>
              <a:ext cx="570711" cy="570711"/>
            </a:xfrm>
            <a:prstGeom prst="rect">
              <a:avLst/>
            </a:prstGeom>
          </p:spPr>
        </p:pic>
      </p:grpSp>
      <p:cxnSp>
        <p:nvCxnSpPr>
          <p:cNvPr id="45" name="Verbinder: gekrümmt 44">
            <a:extLst>
              <a:ext uri="{FF2B5EF4-FFF2-40B4-BE49-F238E27FC236}">
                <a16:creationId xmlns:a16="http://schemas.microsoft.com/office/drawing/2014/main" id="{C7124DA4-CE1A-40B5-BDCD-6D20D0E258E8}"/>
              </a:ext>
            </a:extLst>
          </p:cNvPr>
          <p:cNvCxnSpPr>
            <a:cxnSpLocks/>
            <a:stCxn id="12" idx="2"/>
            <a:endCxn id="70" idx="0"/>
          </p:cNvCxnSpPr>
          <p:nvPr/>
        </p:nvCxnSpPr>
        <p:spPr>
          <a:xfrm rot="5400000">
            <a:off x="8427611" y="2021997"/>
            <a:ext cx="380594" cy="1216066"/>
          </a:xfrm>
          <a:prstGeom prst="curvedConnector3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krümmt 78">
            <a:extLst>
              <a:ext uri="{FF2B5EF4-FFF2-40B4-BE49-F238E27FC236}">
                <a16:creationId xmlns:a16="http://schemas.microsoft.com/office/drawing/2014/main" id="{1FC623A4-543C-4FCD-AF80-0DFE9AE4757B}"/>
              </a:ext>
            </a:extLst>
          </p:cNvPr>
          <p:cNvCxnSpPr>
            <a:cxnSpLocks/>
            <a:stCxn id="12" idx="2"/>
            <a:endCxn id="77" idx="0"/>
          </p:cNvCxnSpPr>
          <p:nvPr/>
        </p:nvCxnSpPr>
        <p:spPr>
          <a:xfrm rot="16200000" flipH="1">
            <a:off x="9578268" y="2087405"/>
            <a:ext cx="380593" cy="1085247"/>
          </a:xfrm>
          <a:prstGeom prst="curved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BC3020E5-98E3-4B03-B8FD-FB145B40DF05}"/>
              </a:ext>
            </a:extLst>
          </p:cNvPr>
          <p:cNvCxnSpPr>
            <a:cxnSpLocks/>
            <a:stCxn id="12" idx="3"/>
            <a:endCxn id="63" idx="2"/>
          </p:cNvCxnSpPr>
          <p:nvPr/>
        </p:nvCxnSpPr>
        <p:spPr>
          <a:xfrm>
            <a:off x="10133605" y="2052105"/>
            <a:ext cx="8868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feld 97">
            <a:extLst>
              <a:ext uri="{FF2B5EF4-FFF2-40B4-BE49-F238E27FC236}">
                <a16:creationId xmlns:a16="http://schemas.microsoft.com/office/drawing/2014/main" id="{C957BBF0-E923-4EA8-A9F6-BBA83C8BF78A}"/>
              </a:ext>
            </a:extLst>
          </p:cNvPr>
          <p:cNvSpPr txBox="1"/>
          <p:nvPr/>
        </p:nvSpPr>
        <p:spPr>
          <a:xfrm>
            <a:off x="9828508" y="2401630"/>
            <a:ext cx="20603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/>
              <a:t>“</a:t>
            </a:r>
            <a:r>
              <a:rPr lang="en-US" sz="1600" i="1" dirty="0" err="1"/>
              <a:t>Dedizierter</a:t>
            </a:r>
            <a:r>
              <a:rPr lang="en-US" sz="1600" i="1" dirty="0"/>
              <a:t> EE-Strom”</a:t>
            </a:r>
          </a:p>
        </p:txBody>
      </p:sp>
      <p:cxnSp>
        <p:nvCxnSpPr>
          <p:cNvPr id="107" name="Gerader Verbinder 106">
            <a:extLst>
              <a:ext uri="{FF2B5EF4-FFF2-40B4-BE49-F238E27FC236}">
                <a16:creationId xmlns:a16="http://schemas.microsoft.com/office/drawing/2014/main" id="{1B5A0239-4366-4055-BBD7-2AE181CC64E8}"/>
              </a:ext>
            </a:extLst>
          </p:cNvPr>
          <p:cNvCxnSpPr>
            <a:cxnSpLocks/>
            <a:stCxn id="78" idx="2"/>
            <a:endCxn id="100" idx="0"/>
          </p:cNvCxnSpPr>
          <p:nvPr/>
        </p:nvCxnSpPr>
        <p:spPr>
          <a:xfrm flipH="1">
            <a:off x="10310676" y="3686458"/>
            <a:ext cx="513" cy="184367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6F035A29-95D2-450C-99B9-C300A16E1EDC}"/>
              </a:ext>
            </a:extLst>
          </p:cNvPr>
          <p:cNvGrpSpPr/>
          <p:nvPr/>
        </p:nvGrpSpPr>
        <p:grpSpPr>
          <a:xfrm>
            <a:off x="9828507" y="3870825"/>
            <a:ext cx="1519775" cy="1558522"/>
            <a:chOff x="10086987" y="4011622"/>
            <a:chExt cx="1519775" cy="1558522"/>
          </a:xfrm>
        </p:grpSpPr>
        <p:grpSp>
          <p:nvGrpSpPr>
            <p:cNvPr id="99" name="Gruppieren 98">
              <a:extLst>
                <a:ext uri="{FF2B5EF4-FFF2-40B4-BE49-F238E27FC236}">
                  <a16:creationId xmlns:a16="http://schemas.microsoft.com/office/drawing/2014/main" id="{E02CF856-6AA3-4C5E-AEBB-94F73F181963}"/>
                </a:ext>
              </a:extLst>
            </p:cNvPr>
            <p:cNvGrpSpPr/>
            <p:nvPr/>
          </p:nvGrpSpPr>
          <p:grpSpPr>
            <a:xfrm>
              <a:off x="10191156" y="4011622"/>
              <a:ext cx="756000" cy="756000"/>
              <a:chOff x="11116410" y="3334546"/>
              <a:chExt cx="756000" cy="756000"/>
            </a:xfrm>
          </p:grpSpPr>
          <p:sp>
            <p:nvSpPr>
              <p:cNvPr id="100" name="Ellipse 99">
                <a:extLst>
                  <a:ext uri="{FF2B5EF4-FFF2-40B4-BE49-F238E27FC236}">
                    <a16:creationId xmlns:a16="http://schemas.microsoft.com/office/drawing/2014/main" id="{318D2063-1FB1-4076-BA58-D3698D9B7E65}"/>
                  </a:ext>
                </a:extLst>
              </p:cNvPr>
              <p:cNvSpPr/>
              <p:nvPr/>
            </p:nvSpPr>
            <p:spPr>
              <a:xfrm>
                <a:off x="11116410" y="3334546"/>
                <a:ext cx="756000" cy="756000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101" name="Gruppieren 100">
                <a:extLst>
                  <a:ext uri="{FF2B5EF4-FFF2-40B4-BE49-F238E27FC236}">
                    <a16:creationId xmlns:a16="http://schemas.microsoft.com/office/drawing/2014/main" id="{016A4DDC-7C68-4E7B-8D5C-F6C745152F51}"/>
                  </a:ext>
                </a:extLst>
              </p:cNvPr>
              <p:cNvGrpSpPr/>
              <p:nvPr/>
            </p:nvGrpSpPr>
            <p:grpSpPr>
              <a:xfrm>
                <a:off x="11259762" y="3402032"/>
                <a:ext cx="469296" cy="621028"/>
                <a:chOff x="1554311" y="4186169"/>
                <a:chExt cx="469296" cy="621028"/>
              </a:xfrm>
            </p:grpSpPr>
            <p:pic>
              <p:nvPicPr>
                <p:cNvPr id="102" name="Grafik 101">
                  <a:extLst>
                    <a:ext uri="{FF2B5EF4-FFF2-40B4-BE49-F238E27FC236}">
                      <a16:creationId xmlns:a16="http://schemas.microsoft.com/office/drawing/2014/main" id="{F00D4484-2089-4FC3-8658-3EA7B6F1B0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994" r="32933"/>
                <a:stretch/>
              </p:blipFill>
              <p:spPr>
                <a:xfrm flipH="1">
                  <a:off x="1852462" y="4495610"/>
                  <a:ext cx="171145" cy="308526"/>
                </a:xfrm>
                <a:prstGeom prst="rect">
                  <a:avLst/>
                </a:prstGeom>
              </p:spPr>
            </p:pic>
            <p:pic>
              <p:nvPicPr>
                <p:cNvPr id="103" name="Grafik 102">
                  <a:extLst>
                    <a:ext uri="{FF2B5EF4-FFF2-40B4-BE49-F238E27FC236}">
                      <a16:creationId xmlns:a16="http://schemas.microsoft.com/office/drawing/2014/main" id="{F5BE04E0-30C7-4249-910A-B7550E8C31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714" r="35418"/>
                <a:stretch/>
              </p:blipFill>
              <p:spPr>
                <a:xfrm flipH="1">
                  <a:off x="1554311" y="4498671"/>
                  <a:ext cx="159735" cy="308526"/>
                </a:xfrm>
                <a:prstGeom prst="rect">
                  <a:avLst/>
                </a:prstGeom>
              </p:spPr>
            </p:pic>
            <p:cxnSp>
              <p:nvCxnSpPr>
                <p:cNvPr id="104" name="Gewinkelte Verbindung 80">
                  <a:extLst>
                    <a:ext uri="{FF2B5EF4-FFF2-40B4-BE49-F238E27FC236}">
                      <a16:creationId xmlns:a16="http://schemas.microsoft.com/office/drawing/2014/main" id="{53453E32-59C8-4B2E-AC66-FD099B076401}"/>
                    </a:ext>
                  </a:extLst>
                </p:cNvPr>
                <p:cNvCxnSpPr>
                  <a:stCxn id="103" idx="0"/>
                  <a:endCxn id="102" idx="0"/>
                </p:cNvCxnSpPr>
                <p:nvPr/>
              </p:nvCxnSpPr>
              <p:spPr>
                <a:xfrm rot="5400000" flipH="1" flipV="1">
                  <a:off x="1784576" y="4345213"/>
                  <a:ext cx="3061" cy="303855"/>
                </a:xfrm>
                <a:prstGeom prst="bentConnector3">
                  <a:avLst>
                    <a:gd name="adj1" fmla="val 2100117"/>
                  </a:avLst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5" name="Textfeld 104">
                  <a:extLst>
                    <a:ext uri="{FF2B5EF4-FFF2-40B4-BE49-F238E27FC236}">
                      <a16:creationId xmlns:a16="http://schemas.microsoft.com/office/drawing/2014/main" id="{1E404B4B-0E40-415C-B81D-DA29B66AD9DA}"/>
                    </a:ext>
                  </a:extLst>
                </p:cNvPr>
                <p:cNvSpPr txBox="1"/>
                <p:nvPr/>
              </p:nvSpPr>
              <p:spPr>
                <a:xfrm>
                  <a:off x="1589598" y="4186169"/>
                  <a:ext cx="89160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/>
                <a:p>
                  <a:pPr algn="ctr"/>
                  <a:r>
                    <a:rPr lang="de-DE" b="1">
                      <a:latin typeface="Trebuchet MS" panose="020B0603020202020204" pitchFamily="34" charset="0"/>
                      <a:cs typeface="Arial"/>
                    </a:rPr>
                    <a:t>+</a:t>
                  </a:r>
                  <a:endParaRPr lang="de-DE" sz="2400" b="1" baseline="-25000">
                    <a:latin typeface="Trebuchet MS" panose="020B0603020202020204" pitchFamily="34" charset="0"/>
                    <a:cs typeface="Arial"/>
                  </a:endParaRPr>
                </a:p>
              </p:txBody>
            </p:sp>
            <p:sp>
              <p:nvSpPr>
                <p:cNvPr id="106" name="Textfeld 105">
                  <a:extLst>
                    <a:ext uri="{FF2B5EF4-FFF2-40B4-BE49-F238E27FC236}">
                      <a16:creationId xmlns:a16="http://schemas.microsoft.com/office/drawing/2014/main" id="{8049DFF6-006D-4B5A-A866-6F820711E860}"/>
                    </a:ext>
                  </a:extLst>
                </p:cNvPr>
                <p:cNvSpPr txBox="1"/>
                <p:nvPr/>
              </p:nvSpPr>
              <p:spPr>
                <a:xfrm>
                  <a:off x="1875312" y="4186170"/>
                  <a:ext cx="130153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/>
                <a:p>
                  <a:pPr algn="ctr"/>
                  <a:r>
                    <a:rPr lang="de-DE" b="1">
                      <a:latin typeface="Trebuchet MS" panose="020B0603020202020204" pitchFamily="34" charset="0"/>
                      <a:cs typeface="Arial"/>
                    </a:rPr>
                    <a:t>-</a:t>
                  </a:r>
                  <a:endParaRPr lang="de-DE" sz="2400" b="1" baseline="-25000">
                    <a:latin typeface="Trebuchet MS" panose="020B0603020202020204" pitchFamily="34" charset="0"/>
                    <a:cs typeface="Arial"/>
                  </a:endParaRPr>
                </a:p>
              </p:txBody>
            </p:sp>
          </p:grpSp>
        </p:grp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4CA67138-C0E5-4BA7-B41E-46B51A67647A}"/>
                </a:ext>
              </a:extLst>
            </p:cNvPr>
            <p:cNvSpPr txBox="1"/>
            <p:nvPr/>
          </p:nvSpPr>
          <p:spPr>
            <a:xfrm>
              <a:off x="10086987" y="4739147"/>
              <a:ext cx="15197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/>
                <a:t>“</a:t>
              </a:r>
              <a:r>
                <a:rPr lang="en-US" sz="1600" i="1" dirty="0" err="1"/>
                <a:t>Ökonomisch</a:t>
              </a:r>
              <a:r>
                <a:rPr lang="en-US" sz="1600" i="1" dirty="0"/>
                <a:t> </a:t>
              </a:r>
              <a:r>
                <a:rPr lang="en-US" sz="1600" i="1" dirty="0" err="1"/>
                <a:t>abgeregelter</a:t>
              </a:r>
              <a:r>
                <a:rPr lang="en-US" sz="1600" i="1" dirty="0"/>
                <a:t> Strom”</a:t>
              </a:r>
            </a:p>
          </p:txBody>
        </p:sp>
      </p:grp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49057F48-6E60-4CAC-9CF4-8632AB694606}"/>
              </a:ext>
            </a:extLst>
          </p:cNvPr>
          <p:cNvCxnSpPr>
            <a:cxnSpLocks/>
            <a:stCxn id="73" idx="2"/>
            <a:endCxn id="110" idx="0"/>
          </p:cNvCxnSpPr>
          <p:nvPr/>
        </p:nvCxnSpPr>
        <p:spPr>
          <a:xfrm>
            <a:off x="8009876" y="3686459"/>
            <a:ext cx="1387" cy="184366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14495D87-3EB5-428A-9FEE-C11BBFA95CF4}"/>
              </a:ext>
            </a:extLst>
          </p:cNvPr>
          <p:cNvGrpSpPr/>
          <p:nvPr/>
        </p:nvGrpSpPr>
        <p:grpSpPr>
          <a:xfrm>
            <a:off x="7103600" y="3870825"/>
            <a:ext cx="1836986" cy="1312300"/>
            <a:chOff x="7389895" y="4005019"/>
            <a:chExt cx="1836986" cy="1312300"/>
          </a:xfrm>
        </p:grpSpPr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FBB44C45-3D94-48B9-BAD0-D598F110E299}"/>
                </a:ext>
              </a:extLst>
            </p:cNvPr>
            <p:cNvGrpSpPr/>
            <p:nvPr/>
          </p:nvGrpSpPr>
          <p:grpSpPr>
            <a:xfrm>
              <a:off x="7919558" y="4005019"/>
              <a:ext cx="756000" cy="756000"/>
              <a:chOff x="11116410" y="3334546"/>
              <a:chExt cx="756000" cy="756000"/>
            </a:xfrm>
          </p:grpSpPr>
          <p:sp>
            <p:nvSpPr>
              <p:cNvPr id="110" name="Ellipse 109">
                <a:extLst>
                  <a:ext uri="{FF2B5EF4-FFF2-40B4-BE49-F238E27FC236}">
                    <a16:creationId xmlns:a16="http://schemas.microsoft.com/office/drawing/2014/main" id="{D364250E-2260-4DB3-A0A6-9CDA31F4124A}"/>
                  </a:ext>
                </a:extLst>
              </p:cNvPr>
              <p:cNvSpPr/>
              <p:nvPr/>
            </p:nvSpPr>
            <p:spPr>
              <a:xfrm>
                <a:off x="11116410" y="3334546"/>
                <a:ext cx="756000" cy="756000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111" name="Gruppieren 110">
                <a:extLst>
                  <a:ext uri="{FF2B5EF4-FFF2-40B4-BE49-F238E27FC236}">
                    <a16:creationId xmlns:a16="http://schemas.microsoft.com/office/drawing/2014/main" id="{1474D72A-00DD-4A99-AE1D-63EFC2758AC6}"/>
                  </a:ext>
                </a:extLst>
              </p:cNvPr>
              <p:cNvGrpSpPr/>
              <p:nvPr/>
            </p:nvGrpSpPr>
            <p:grpSpPr>
              <a:xfrm>
                <a:off x="11259762" y="3402032"/>
                <a:ext cx="469296" cy="621028"/>
                <a:chOff x="1554311" y="4186169"/>
                <a:chExt cx="469296" cy="621028"/>
              </a:xfrm>
            </p:grpSpPr>
            <p:pic>
              <p:nvPicPr>
                <p:cNvPr id="112" name="Grafik 111">
                  <a:extLst>
                    <a:ext uri="{FF2B5EF4-FFF2-40B4-BE49-F238E27FC236}">
                      <a16:creationId xmlns:a16="http://schemas.microsoft.com/office/drawing/2014/main" id="{6B2FBAF7-DD1E-4C2D-A438-95A9ED8908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994" r="32933"/>
                <a:stretch/>
              </p:blipFill>
              <p:spPr>
                <a:xfrm flipH="1">
                  <a:off x="1852462" y="4495610"/>
                  <a:ext cx="171145" cy="308526"/>
                </a:xfrm>
                <a:prstGeom prst="rect">
                  <a:avLst/>
                </a:prstGeom>
              </p:spPr>
            </p:pic>
            <p:pic>
              <p:nvPicPr>
                <p:cNvPr id="113" name="Grafik 112">
                  <a:extLst>
                    <a:ext uri="{FF2B5EF4-FFF2-40B4-BE49-F238E27FC236}">
                      <a16:creationId xmlns:a16="http://schemas.microsoft.com/office/drawing/2014/main" id="{2EDDC432-355B-487F-93BD-C25C8ECECA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714" r="35418"/>
                <a:stretch/>
              </p:blipFill>
              <p:spPr>
                <a:xfrm flipH="1">
                  <a:off x="1554311" y="4498671"/>
                  <a:ext cx="159735" cy="308526"/>
                </a:xfrm>
                <a:prstGeom prst="rect">
                  <a:avLst/>
                </a:prstGeom>
              </p:spPr>
            </p:pic>
            <p:cxnSp>
              <p:nvCxnSpPr>
                <p:cNvPr id="114" name="Gewinkelte Verbindung 80">
                  <a:extLst>
                    <a:ext uri="{FF2B5EF4-FFF2-40B4-BE49-F238E27FC236}">
                      <a16:creationId xmlns:a16="http://schemas.microsoft.com/office/drawing/2014/main" id="{97A46782-513F-40EC-B706-AD35BB94D9EF}"/>
                    </a:ext>
                  </a:extLst>
                </p:cNvPr>
                <p:cNvCxnSpPr>
                  <a:stCxn id="113" idx="0"/>
                  <a:endCxn id="112" idx="0"/>
                </p:cNvCxnSpPr>
                <p:nvPr/>
              </p:nvCxnSpPr>
              <p:spPr>
                <a:xfrm rot="5400000" flipH="1" flipV="1">
                  <a:off x="1784576" y="4345213"/>
                  <a:ext cx="3061" cy="303855"/>
                </a:xfrm>
                <a:prstGeom prst="bentConnector3">
                  <a:avLst>
                    <a:gd name="adj1" fmla="val 2100117"/>
                  </a:avLst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5" name="Textfeld 114">
                  <a:extLst>
                    <a:ext uri="{FF2B5EF4-FFF2-40B4-BE49-F238E27FC236}">
                      <a16:creationId xmlns:a16="http://schemas.microsoft.com/office/drawing/2014/main" id="{CDCB2175-B35E-4B30-A913-708980EC5609}"/>
                    </a:ext>
                  </a:extLst>
                </p:cNvPr>
                <p:cNvSpPr txBox="1"/>
                <p:nvPr/>
              </p:nvSpPr>
              <p:spPr>
                <a:xfrm>
                  <a:off x="1589598" y="4186169"/>
                  <a:ext cx="89160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/>
                <a:p>
                  <a:pPr algn="ctr"/>
                  <a:r>
                    <a:rPr lang="de-DE" b="1">
                      <a:latin typeface="Trebuchet MS" panose="020B0603020202020204" pitchFamily="34" charset="0"/>
                      <a:cs typeface="Arial"/>
                    </a:rPr>
                    <a:t>+</a:t>
                  </a:r>
                  <a:endParaRPr lang="de-DE" sz="2400" b="1" baseline="-25000">
                    <a:latin typeface="Trebuchet MS" panose="020B0603020202020204" pitchFamily="34" charset="0"/>
                    <a:cs typeface="Arial"/>
                  </a:endParaRPr>
                </a:p>
              </p:txBody>
            </p:sp>
            <p:sp>
              <p:nvSpPr>
                <p:cNvPr id="116" name="Textfeld 115">
                  <a:extLst>
                    <a:ext uri="{FF2B5EF4-FFF2-40B4-BE49-F238E27FC236}">
                      <a16:creationId xmlns:a16="http://schemas.microsoft.com/office/drawing/2014/main" id="{C279F90C-142E-4262-89D2-8D9A7A79B80E}"/>
                    </a:ext>
                  </a:extLst>
                </p:cNvPr>
                <p:cNvSpPr txBox="1"/>
                <p:nvPr/>
              </p:nvSpPr>
              <p:spPr>
                <a:xfrm>
                  <a:off x="1875312" y="4186170"/>
                  <a:ext cx="130153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/>
                <a:p>
                  <a:pPr algn="ctr"/>
                  <a:r>
                    <a:rPr lang="de-DE" b="1">
                      <a:latin typeface="Trebuchet MS" panose="020B0603020202020204" pitchFamily="34" charset="0"/>
                      <a:cs typeface="Arial"/>
                    </a:rPr>
                    <a:t>-</a:t>
                  </a:r>
                  <a:endParaRPr lang="de-DE" sz="2400" b="1" baseline="-25000">
                    <a:latin typeface="Trebuchet MS" panose="020B0603020202020204" pitchFamily="34" charset="0"/>
                    <a:cs typeface="Arial"/>
                  </a:endParaRPr>
                </a:p>
              </p:txBody>
            </p:sp>
          </p:grpSp>
        </p:grpSp>
        <p:sp>
          <p:nvSpPr>
            <p:cNvPr id="118" name="Textfeld 117">
              <a:extLst>
                <a:ext uri="{FF2B5EF4-FFF2-40B4-BE49-F238E27FC236}">
                  <a16:creationId xmlns:a16="http://schemas.microsoft.com/office/drawing/2014/main" id="{0AFC70B0-1571-4C39-8B6D-B9993A83A4F7}"/>
                </a:ext>
              </a:extLst>
            </p:cNvPr>
            <p:cNvSpPr txBox="1"/>
            <p:nvPr/>
          </p:nvSpPr>
          <p:spPr>
            <a:xfrm>
              <a:off x="7389895" y="4732544"/>
              <a:ext cx="183698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 err="1"/>
                <a:t>Netztechnisch</a:t>
              </a:r>
              <a:r>
                <a:rPr lang="en-US" sz="1600" i="1" dirty="0"/>
                <a:t> </a:t>
              </a:r>
              <a:r>
                <a:rPr lang="en-US" sz="1600" i="1" dirty="0" err="1"/>
                <a:t>abgeregelter</a:t>
              </a:r>
              <a:r>
                <a:rPr lang="en-US" sz="1600" i="1" dirty="0"/>
                <a:t> Strom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913DE9B7-B3BB-436E-A821-13E5AB81D9B9}"/>
              </a:ext>
            </a:extLst>
          </p:cNvPr>
          <p:cNvGrpSpPr/>
          <p:nvPr/>
        </p:nvGrpSpPr>
        <p:grpSpPr>
          <a:xfrm>
            <a:off x="6557870" y="5156529"/>
            <a:ext cx="2237985" cy="1066079"/>
            <a:chOff x="7178581" y="4005019"/>
            <a:chExt cx="2237985" cy="1066079"/>
          </a:xfrm>
        </p:grpSpPr>
        <p:grpSp>
          <p:nvGrpSpPr>
            <p:cNvPr id="140" name="Gruppieren 139">
              <a:extLst>
                <a:ext uri="{FF2B5EF4-FFF2-40B4-BE49-F238E27FC236}">
                  <a16:creationId xmlns:a16="http://schemas.microsoft.com/office/drawing/2014/main" id="{83633893-642C-431C-B5A0-8F966663ACF1}"/>
                </a:ext>
              </a:extLst>
            </p:cNvPr>
            <p:cNvGrpSpPr/>
            <p:nvPr/>
          </p:nvGrpSpPr>
          <p:grpSpPr>
            <a:xfrm>
              <a:off x="7919558" y="4005019"/>
              <a:ext cx="756000" cy="756000"/>
              <a:chOff x="11116410" y="3334546"/>
              <a:chExt cx="756000" cy="756000"/>
            </a:xfrm>
          </p:grpSpPr>
          <p:sp>
            <p:nvSpPr>
              <p:cNvPr id="142" name="Ellipse 141">
                <a:extLst>
                  <a:ext uri="{FF2B5EF4-FFF2-40B4-BE49-F238E27FC236}">
                    <a16:creationId xmlns:a16="http://schemas.microsoft.com/office/drawing/2014/main" id="{AE97F5DB-F41C-4952-AC5D-A04F78446AEC}"/>
                  </a:ext>
                </a:extLst>
              </p:cNvPr>
              <p:cNvSpPr/>
              <p:nvPr/>
            </p:nvSpPr>
            <p:spPr>
              <a:xfrm>
                <a:off x="11116410" y="3334546"/>
                <a:ext cx="756000" cy="756000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143" name="Gruppieren 142">
                <a:extLst>
                  <a:ext uri="{FF2B5EF4-FFF2-40B4-BE49-F238E27FC236}">
                    <a16:creationId xmlns:a16="http://schemas.microsoft.com/office/drawing/2014/main" id="{411EB62F-E806-4F5D-B313-64FC52ACE92B}"/>
                  </a:ext>
                </a:extLst>
              </p:cNvPr>
              <p:cNvGrpSpPr/>
              <p:nvPr/>
            </p:nvGrpSpPr>
            <p:grpSpPr>
              <a:xfrm>
                <a:off x="11259762" y="3402032"/>
                <a:ext cx="469296" cy="621028"/>
                <a:chOff x="1554311" y="4186169"/>
                <a:chExt cx="469296" cy="621028"/>
              </a:xfrm>
            </p:grpSpPr>
            <p:pic>
              <p:nvPicPr>
                <p:cNvPr id="144" name="Grafik 143">
                  <a:extLst>
                    <a:ext uri="{FF2B5EF4-FFF2-40B4-BE49-F238E27FC236}">
                      <a16:creationId xmlns:a16="http://schemas.microsoft.com/office/drawing/2014/main" id="{1AA305CE-33EF-42EE-928B-AED150A2B1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994" r="32933"/>
                <a:stretch/>
              </p:blipFill>
              <p:spPr>
                <a:xfrm flipH="1">
                  <a:off x="1852462" y="4495610"/>
                  <a:ext cx="171145" cy="308526"/>
                </a:xfrm>
                <a:prstGeom prst="rect">
                  <a:avLst/>
                </a:prstGeom>
              </p:spPr>
            </p:pic>
            <p:pic>
              <p:nvPicPr>
                <p:cNvPr id="145" name="Grafik 144">
                  <a:extLst>
                    <a:ext uri="{FF2B5EF4-FFF2-40B4-BE49-F238E27FC236}">
                      <a16:creationId xmlns:a16="http://schemas.microsoft.com/office/drawing/2014/main" id="{E6ED493C-9D9F-4664-826C-44C7208830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714" r="35418"/>
                <a:stretch/>
              </p:blipFill>
              <p:spPr>
                <a:xfrm flipH="1">
                  <a:off x="1554311" y="4498671"/>
                  <a:ext cx="159735" cy="308526"/>
                </a:xfrm>
                <a:prstGeom prst="rect">
                  <a:avLst/>
                </a:prstGeom>
              </p:spPr>
            </p:pic>
            <p:cxnSp>
              <p:nvCxnSpPr>
                <p:cNvPr id="146" name="Gewinkelte Verbindung 80">
                  <a:extLst>
                    <a:ext uri="{FF2B5EF4-FFF2-40B4-BE49-F238E27FC236}">
                      <a16:creationId xmlns:a16="http://schemas.microsoft.com/office/drawing/2014/main" id="{5EEA699D-E5A8-487E-98FE-D9A816216E91}"/>
                    </a:ext>
                  </a:extLst>
                </p:cNvPr>
                <p:cNvCxnSpPr>
                  <a:stCxn id="145" idx="0"/>
                  <a:endCxn id="144" idx="0"/>
                </p:cNvCxnSpPr>
                <p:nvPr/>
              </p:nvCxnSpPr>
              <p:spPr>
                <a:xfrm rot="5400000" flipH="1" flipV="1">
                  <a:off x="1784576" y="4345213"/>
                  <a:ext cx="3061" cy="303855"/>
                </a:xfrm>
                <a:prstGeom prst="bentConnector3">
                  <a:avLst>
                    <a:gd name="adj1" fmla="val 2100117"/>
                  </a:avLst>
                </a:prstGeom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7" name="Textfeld 146">
                  <a:extLst>
                    <a:ext uri="{FF2B5EF4-FFF2-40B4-BE49-F238E27FC236}">
                      <a16:creationId xmlns:a16="http://schemas.microsoft.com/office/drawing/2014/main" id="{E8652353-5B5B-47A1-B65E-A07831DC021B}"/>
                    </a:ext>
                  </a:extLst>
                </p:cNvPr>
                <p:cNvSpPr txBox="1"/>
                <p:nvPr/>
              </p:nvSpPr>
              <p:spPr>
                <a:xfrm>
                  <a:off x="1589598" y="4186169"/>
                  <a:ext cx="89160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/>
                <a:p>
                  <a:pPr algn="ctr"/>
                  <a:r>
                    <a:rPr lang="de-DE" b="1">
                      <a:latin typeface="Trebuchet MS" panose="020B0603020202020204" pitchFamily="34" charset="0"/>
                      <a:cs typeface="Arial"/>
                    </a:rPr>
                    <a:t>+</a:t>
                  </a:r>
                  <a:endParaRPr lang="de-DE" sz="2400" b="1" baseline="-25000">
                    <a:latin typeface="Trebuchet MS" panose="020B0603020202020204" pitchFamily="34" charset="0"/>
                    <a:cs typeface="Arial"/>
                  </a:endParaRPr>
                </a:p>
              </p:txBody>
            </p:sp>
            <p:sp>
              <p:nvSpPr>
                <p:cNvPr id="148" name="Textfeld 147">
                  <a:extLst>
                    <a:ext uri="{FF2B5EF4-FFF2-40B4-BE49-F238E27FC236}">
                      <a16:creationId xmlns:a16="http://schemas.microsoft.com/office/drawing/2014/main" id="{BEDDA0D4-282B-4F33-9D7E-0D9ADAA5A577}"/>
                    </a:ext>
                  </a:extLst>
                </p:cNvPr>
                <p:cNvSpPr txBox="1"/>
                <p:nvPr/>
              </p:nvSpPr>
              <p:spPr>
                <a:xfrm>
                  <a:off x="1875312" y="4186170"/>
                  <a:ext cx="130153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/>
                <a:p>
                  <a:pPr algn="ctr"/>
                  <a:r>
                    <a:rPr lang="de-DE" b="1">
                      <a:latin typeface="Trebuchet MS" panose="020B0603020202020204" pitchFamily="34" charset="0"/>
                      <a:cs typeface="Arial"/>
                    </a:rPr>
                    <a:t>-</a:t>
                  </a:r>
                  <a:endParaRPr lang="de-DE" sz="2400" b="1" baseline="-25000">
                    <a:latin typeface="Trebuchet MS" panose="020B0603020202020204" pitchFamily="34" charset="0"/>
                    <a:cs typeface="Arial"/>
                  </a:endParaRPr>
                </a:p>
              </p:txBody>
            </p:sp>
          </p:grpSp>
        </p:grp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36234473-0062-4746-802A-F4ED64F20401}"/>
                </a:ext>
              </a:extLst>
            </p:cNvPr>
            <p:cNvSpPr txBox="1"/>
            <p:nvPr/>
          </p:nvSpPr>
          <p:spPr>
            <a:xfrm>
              <a:off x="7178581" y="4732544"/>
              <a:ext cx="22379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i="1" dirty="0"/>
                <a:t>“</a:t>
              </a:r>
              <a:r>
                <a:rPr lang="en-US" sz="1600" i="1" dirty="0" err="1"/>
                <a:t>Endverbraucher</a:t>
              </a:r>
              <a:r>
                <a:rPr lang="en-US" sz="1600" i="1" dirty="0"/>
                <a:t>-Strom”</a:t>
              </a:r>
            </a:p>
          </p:txBody>
        </p:sp>
      </p:grpSp>
      <p:sp>
        <p:nvSpPr>
          <p:cNvPr id="83" name="Abgerundetes Rechteck 39">
            <a:extLst>
              <a:ext uri="{FF2B5EF4-FFF2-40B4-BE49-F238E27FC236}">
                <a16:creationId xmlns:a16="http://schemas.microsoft.com/office/drawing/2014/main" id="{5ECF83C0-88BF-4D00-A9F2-A6A0EC135403}"/>
              </a:ext>
            </a:extLst>
          </p:cNvPr>
          <p:cNvSpPr/>
          <p:nvPr/>
        </p:nvSpPr>
        <p:spPr>
          <a:xfrm>
            <a:off x="8318276" y="5149810"/>
            <a:ext cx="1815329" cy="775256"/>
          </a:xfrm>
          <a:prstGeom prst="round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Stromverbraucher</a:t>
            </a:r>
          </a:p>
        </p:txBody>
      </p:sp>
      <p:cxnSp>
        <p:nvCxnSpPr>
          <p:cNvPr id="80" name="Verbinder: gekrümmt 79">
            <a:extLst>
              <a:ext uri="{FF2B5EF4-FFF2-40B4-BE49-F238E27FC236}">
                <a16:creationId xmlns:a16="http://schemas.microsoft.com/office/drawing/2014/main" id="{8DAE1E90-919A-4327-AE70-86C010B67842}"/>
              </a:ext>
            </a:extLst>
          </p:cNvPr>
          <p:cNvCxnSpPr>
            <a:cxnSpLocks/>
            <a:stCxn id="70" idx="2"/>
            <a:endCxn id="83" idx="0"/>
          </p:cNvCxnSpPr>
          <p:nvPr/>
        </p:nvCxnSpPr>
        <p:spPr>
          <a:xfrm rot="16200000" flipH="1">
            <a:off x="7899086" y="3822955"/>
            <a:ext cx="1437644" cy="1216066"/>
          </a:xfrm>
          <a:prstGeom prst="curvedConnector3">
            <a:avLst>
              <a:gd name="adj1" fmla="val 12956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Verbinder: gekrümmt 80">
            <a:extLst>
              <a:ext uri="{FF2B5EF4-FFF2-40B4-BE49-F238E27FC236}">
                <a16:creationId xmlns:a16="http://schemas.microsoft.com/office/drawing/2014/main" id="{64285182-E604-433A-9137-109B40946FA5}"/>
              </a:ext>
            </a:extLst>
          </p:cNvPr>
          <p:cNvCxnSpPr>
            <a:cxnSpLocks/>
            <a:stCxn id="78" idx="2"/>
            <a:endCxn id="83" idx="0"/>
          </p:cNvCxnSpPr>
          <p:nvPr/>
        </p:nvCxnSpPr>
        <p:spPr>
          <a:xfrm rot="5400000">
            <a:off x="9036889" y="3875510"/>
            <a:ext cx="1463352" cy="1085248"/>
          </a:xfrm>
          <a:prstGeom prst="curvedConnector3">
            <a:avLst>
              <a:gd name="adj1" fmla="val 17727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EB2A5A0-750C-46C3-824F-5B04EEC50333}"/>
              </a:ext>
            </a:extLst>
          </p:cNvPr>
          <p:cNvCxnSpPr>
            <a:stCxn id="142" idx="6"/>
            <a:endCxn id="83" idx="1"/>
          </p:cNvCxnSpPr>
          <p:nvPr/>
        </p:nvCxnSpPr>
        <p:spPr>
          <a:xfrm>
            <a:off x="8054847" y="5534529"/>
            <a:ext cx="263429" cy="2909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F6740254-A58A-43B5-835B-7C1FD973A1A5}"/>
              </a:ext>
            </a:extLst>
          </p:cNvPr>
          <p:cNvGrpSpPr/>
          <p:nvPr/>
        </p:nvGrpSpPr>
        <p:grpSpPr>
          <a:xfrm>
            <a:off x="7633263" y="1674105"/>
            <a:ext cx="3345027" cy="2952720"/>
            <a:chOff x="7633263" y="1674105"/>
            <a:chExt cx="3345027" cy="2952720"/>
          </a:xfrm>
        </p:grpSpPr>
        <p:sp>
          <p:nvSpPr>
            <p:cNvPr id="125" name="Ellipse 124">
              <a:extLst>
                <a:ext uri="{FF2B5EF4-FFF2-40B4-BE49-F238E27FC236}">
                  <a16:creationId xmlns:a16="http://schemas.microsoft.com/office/drawing/2014/main" id="{AF805609-5C4C-4F33-8938-3222C3DB99FF}"/>
                </a:ext>
              </a:extLst>
            </p:cNvPr>
            <p:cNvSpPr/>
            <p:nvPr/>
          </p:nvSpPr>
          <p:spPr>
            <a:xfrm>
              <a:off x="9932676" y="3870825"/>
              <a:ext cx="756000" cy="756000"/>
            </a:xfrm>
            <a:prstGeom prst="ellipse">
              <a:avLst/>
            </a:prstGeom>
            <a:solidFill>
              <a:schemeClr val="bg2">
                <a:lumMod val="50000"/>
                <a:alpha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6" name="Ellipse 125">
              <a:extLst>
                <a:ext uri="{FF2B5EF4-FFF2-40B4-BE49-F238E27FC236}">
                  <a16:creationId xmlns:a16="http://schemas.microsoft.com/office/drawing/2014/main" id="{F1E6A361-6B66-42E2-89A3-08CD944A6F85}"/>
                </a:ext>
              </a:extLst>
            </p:cNvPr>
            <p:cNvSpPr/>
            <p:nvPr/>
          </p:nvSpPr>
          <p:spPr>
            <a:xfrm>
              <a:off x="10222290" y="1674105"/>
              <a:ext cx="756000" cy="756000"/>
            </a:xfrm>
            <a:prstGeom prst="ellipse">
              <a:avLst/>
            </a:prstGeom>
            <a:solidFill>
              <a:schemeClr val="bg2">
                <a:lumMod val="50000"/>
                <a:alpha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27" name="Gerader Verbinder 126">
              <a:extLst>
                <a:ext uri="{FF2B5EF4-FFF2-40B4-BE49-F238E27FC236}">
                  <a16:creationId xmlns:a16="http://schemas.microsoft.com/office/drawing/2014/main" id="{F31FD8FE-4ED5-487B-8BD8-77D2863A7FE6}"/>
                </a:ext>
              </a:extLst>
            </p:cNvPr>
            <p:cNvCxnSpPr>
              <a:cxnSpLocks/>
              <a:endCxn id="126" idx="2"/>
            </p:cNvCxnSpPr>
            <p:nvPr/>
          </p:nvCxnSpPr>
          <p:spPr>
            <a:xfrm>
              <a:off x="10133605" y="2052105"/>
              <a:ext cx="88685" cy="0"/>
            </a:xfrm>
            <a:prstGeom prst="line">
              <a:avLst/>
            </a:prstGeom>
            <a:ln w="19050">
              <a:solidFill>
                <a:srgbClr val="BAB8B8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r Verbinder 128">
              <a:extLst>
                <a:ext uri="{FF2B5EF4-FFF2-40B4-BE49-F238E27FC236}">
                  <a16:creationId xmlns:a16="http://schemas.microsoft.com/office/drawing/2014/main" id="{CE196852-5C06-4AE3-9F11-74F8BB05B8B6}"/>
                </a:ext>
              </a:extLst>
            </p:cNvPr>
            <p:cNvCxnSpPr>
              <a:cxnSpLocks/>
              <a:endCxn id="125" idx="0"/>
            </p:cNvCxnSpPr>
            <p:nvPr/>
          </p:nvCxnSpPr>
          <p:spPr>
            <a:xfrm flipH="1">
              <a:off x="10310676" y="3686458"/>
              <a:ext cx="513" cy="184367"/>
            </a:xfrm>
            <a:prstGeom prst="line">
              <a:avLst/>
            </a:prstGeom>
            <a:ln w="19050">
              <a:solidFill>
                <a:srgbClr val="BAB8B8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r Verbinder 132">
              <a:extLst>
                <a:ext uri="{FF2B5EF4-FFF2-40B4-BE49-F238E27FC236}">
                  <a16:creationId xmlns:a16="http://schemas.microsoft.com/office/drawing/2014/main" id="{9C059FED-79E5-4CA8-9E38-388F16501A14}"/>
                </a:ext>
              </a:extLst>
            </p:cNvPr>
            <p:cNvCxnSpPr>
              <a:cxnSpLocks/>
              <a:endCxn id="134" idx="0"/>
            </p:cNvCxnSpPr>
            <p:nvPr/>
          </p:nvCxnSpPr>
          <p:spPr>
            <a:xfrm>
              <a:off x="8009876" y="3686459"/>
              <a:ext cx="1387" cy="184366"/>
            </a:xfrm>
            <a:prstGeom prst="line">
              <a:avLst/>
            </a:prstGeom>
            <a:ln w="19050">
              <a:solidFill>
                <a:srgbClr val="BAB8B8">
                  <a:alpha val="50000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Ellipse 133">
              <a:extLst>
                <a:ext uri="{FF2B5EF4-FFF2-40B4-BE49-F238E27FC236}">
                  <a16:creationId xmlns:a16="http://schemas.microsoft.com/office/drawing/2014/main" id="{4BDF123E-AC0F-4449-BA28-8C201388A478}"/>
                </a:ext>
              </a:extLst>
            </p:cNvPr>
            <p:cNvSpPr/>
            <p:nvPr/>
          </p:nvSpPr>
          <p:spPr>
            <a:xfrm>
              <a:off x="7633263" y="3870825"/>
              <a:ext cx="756000" cy="756000"/>
            </a:xfrm>
            <a:prstGeom prst="ellipse">
              <a:avLst/>
            </a:prstGeom>
            <a:solidFill>
              <a:schemeClr val="bg2">
                <a:lumMod val="50000"/>
                <a:alpha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29182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9FE5584-DFBC-4BE3-AD6C-3573356E28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080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9FE5584-DFBC-4BE3-AD6C-3573356E28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FB6454-D977-4264-8971-047BBA0B0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43" name="Inhaltsplatzhalter 5">
            <a:extLst>
              <a:ext uri="{FF2B5EF4-FFF2-40B4-BE49-F238E27FC236}">
                <a16:creationId xmlns:a16="http://schemas.microsoft.com/office/drawing/2014/main" id="{1BC315BD-D699-4BF7-BBD6-2FD7678ED7AF}"/>
              </a:ext>
            </a:extLst>
          </p:cNvPr>
          <p:cNvSpPr txBox="1">
            <a:spLocks/>
          </p:cNvSpPr>
          <p:nvPr/>
        </p:nvSpPr>
        <p:spPr>
          <a:xfrm>
            <a:off x="839787" y="1628775"/>
            <a:ext cx="10514013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Die </a:t>
            </a:r>
            <a:r>
              <a:rPr lang="en-US" sz="2000" dirty="0" err="1"/>
              <a:t>Grüneigenschaft</a:t>
            </a:r>
            <a:r>
              <a:rPr lang="en-US" sz="2000" dirty="0"/>
              <a:t> </a:t>
            </a:r>
            <a:r>
              <a:rPr lang="en-US" sz="2000" dirty="0" err="1"/>
              <a:t>durch</a:t>
            </a:r>
            <a:r>
              <a:rPr lang="en-US" sz="2000" dirty="0"/>
              <a:t> </a:t>
            </a:r>
            <a:r>
              <a:rPr lang="en-US" sz="2000" dirty="0" err="1"/>
              <a:t>netzgekoppelte</a:t>
            </a:r>
            <a:r>
              <a:rPr lang="en-US" sz="2000" dirty="0"/>
              <a:t> </a:t>
            </a:r>
            <a:r>
              <a:rPr lang="en-US" sz="2000" dirty="0" err="1"/>
              <a:t>Elektrolyseure</a:t>
            </a:r>
            <a:r>
              <a:rPr lang="en-US" sz="2000" dirty="0"/>
              <a:t> </a:t>
            </a:r>
            <a:r>
              <a:rPr lang="en-US" sz="2000" dirty="0" err="1"/>
              <a:t>erzeugten</a:t>
            </a:r>
            <a:r>
              <a:rPr lang="en-US" sz="2000" dirty="0"/>
              <a:t> </a:t>
            </a:r>
            <a:r>
              <a:rPr lang="en-US" sz="2000" dirty="0" err="1"/>
              <a:t>Wasserstoffs</a:t>
            </a:r>
            <a:r>
              <a:rPr lang="en-US" sz="2000" dirty="0"/>
              <a:t> </a:t>
            </a:r>
            <a:r>
              <a:rPr lang="en-US" sz="2000" dirty="0" err="1"/>
              <a:t>ist</a:t>
            </a:r>
            <a:r>
              <a:rPr lang="en-US" sz="2000" dirty="0"/>
              <a:t> </a:t>
            </a:r>
            <a:r>
              <a:rPr lang="en-US" sz="2000" dirty="0" err="1"/>
              <a:t>unklar</a:t>
            </a:r>
            <a:r>
              <a:rPr lang="en-US" sz="2000" dirty="0"/>
              <a:t>. </a:t>
            </a:r>
            <a:r>
              <a:rPr lang="en-US" sz="2000" dirty="0" err="1"/>
              <a:t>Kriterien</a:t>
            </a:r>
            <a:r>
              <a:rPr lang="en-US" sz="2000" dirty="0"/>
              <a:t> </a:t>
            </a:r>
            <a:r>
              <a:rPr lang="en-US" sz="2000" dirty="0" err="1"/>
              <a:t>zur</a:t>
            </a:r>
            <a:r>
              <a:rPr lang="en-US" sz="2000" dirty="0"/>
              <a:t> </a:t>
            </a:r>
            <a:r>
              <a:rPr lang="en-US" sz="2000" dirty="0" err="1"/>
              <a:t>Bewertung</a:t>
            </a:r>
            <a:r>
              <a:rPr lang="en-US" sz="2000" dirty="0"/>
              <a:t> </a:t>
            </a:r>
            <a:r>
              <a:rPr lang="en-US" sz="2000" dirty="0" err="1"/>
              <a:t>dieser</a:t>
            </a:r>
            <a:r>
              <a:rPr lang="en-US" sz="2000" dirty="0"/>
              <a:t> </a:t>
            </a:r>
            <a:r>
              <a:rPr lang="en-US" sz="2000" dirty="0" err="1"/>
              <a:t>Eigenschaft</a:t>
            </a:r>
            <a:r>
              <a:rPr lang="en-US" sz="2000" dirty="0"/>
              <a:t> warden </a:t>
            </a:r>
            <a:r>
              <a:rPr lang="en-US" sz="2000" dirty="0" err="1"/>
              <a:t>im</a:t>
            </a:r>
            <a:r>
              <a:rPr lang="en-US" sz="2000" dirty="0"/>
              <a:t> </a:t>
            </a:r>
            <a:r>
              <a:rPr lang="en-US" sz="2000" dirty="0" err="1"/>
              <a:t>Rahmen</a:t>
            </a:r>
            <a:r>
              <a:rPr lang="en-US" sz="2000" dirty="0"/>
              <a:t> der RED II und des  EEG2021 </a:t>
            </a:r>
            <a:r>
              <a:rPr lang="en-US" sz="2000" dirty="0" err="1"/>
              <a:t>diskutiert</a:t>
            </a:r>
            <a:r>
              <a:rPr lang="en-US" sz="2000" dirty="0"/>
              <a:t>:</a:t>
            </a:r>
            <a:endParaRPr lang="en-US" sz="1600" i="1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r>
              <a:rPr lang="en-US" sz="2000" dirty="0" err="1"/>
              <a:t>Gleichzeitigkeit</a:t>
            </a:r>
            <a:r>
              <a:rPr lang="en-US" sz="2000" dirty="0"/>
              <a:t> </a:t>
            </a:r>
            <a:r>
              <a:rPr lang="en-US" sz="2000" dirty="0" err="1"/>
              <a:t>zwischen</a:t>
            </a:r>
            <a:r>
              <a:rPr lang="en-US" sz="2000" dirty="0"/>
              <a:t> EE und </a:t>
            </a:r>
            <a:r>
              <a:rPr lang="en-US" sz="2000" dirty="0" err="1"/>
              <a:t>Wasserstofferzeugung</a:t>
            </a:r>
            <a:r>
              <a:rPr lang="en-US" sz="2000" dirty="0"/>
              <a:t> </a:t>
            </a:r>
            <a:r>
              <a:rPr lang="en-US" sz="2000" dirty="0" err="1"/>
              <a:t>ist</a:t>
            </a:r>
            <a:r>
              <a:rPr lang="en-US" sz="2000" dirty="0"/>
              <a:t> </a:t>
            </a:r>
            <a:r>
              <a:rPr lang="en-US" sz="2000" dirty="0" err="1"/>
              <a:t>eine</a:t>
            </a:r>
            <a:r>
              <a:rPr lang="en-US" sz="2000" dirty="0"/>
              <a:t> </a:t>
            </a:r>
            <a:r>
              <a:rPr lang="en-US" sz="2000" dirty="0" err="1"/>
              <a:t>entscheidende</a:t>
            </a:r>
            <a:r>
              <a:rPr lang="en-US" sz="2000" dirty="0"/>
              <a:t> </a:t>
            </a:r>
            <a:r>
              <a:rPr lang="en-US" sz="2000" dirty="0" err="1"/>
              <a:t>Determinante</a:t>
            </a:r>
            <a:r>
              <a:rPr lang="en-US" sz="2000" dirty="0"/>
              <a:t> der </a:t>
            </a:r>
            <a:r>
              <a:rPr lang="en-US" sz="2000" dirty="0" err="1"/>
              <a:t>Elektrolyseurwirtschaftlichkeit</a:t>
            </a:r>
            <a:endParaRPr lang="en-US" sz="2000" baseline="-25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>
              <a:cs typeface="Calibri"/>
            </a:endParaRP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7AB5118-5D0C-431B-A511-D802E433CDAF}"/>
              </a:ext>
            </a:extLst>
          </p:cNvPr>
          <p:cNvGrpSpPr/>
          <p:nvPr/>
        </p:nvGrpSpPr>
        <p:grpSpPr>
          <a:xfrm>
            <a:off x="1186111" y="3141670"/>
            <a:ext cx="6078847" cy="338400"/>
            <a:chOff x="1184574" y="2898343"/>
            <a:chExt cx="5927569" cy="33840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C2838889-CF3D-4978-A62F-4EF6A95903B2}"/>
                </a:ext>
              </a:extLst>
            </p:cNvPr>
            <p:cNvSpPr/>
            <p:nvPr/>
          </p:nvSpPr>
          <p:spPr>
            <a:xfrm>
              <a:off x="1327360" y="2900143"/>
              <a:ext cx="5784783" cy="33480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en-US" i="1" dirty="0">
                  <a:solidFill>
                    <a:schemeClr val="tx1"/>
                  </a:solidFill>
                </a:rPr>
                <a:t>“</a:t>
              </a:r>
              <a:r>
                <a:rPr lang="en-US" sz="1800" i="1" dirty="0" err="1">
                  <a:solidFill>
                    <a:schemeClr val="tx1"/>
                  </a:solidFill>
                </a:rPr>
                <a:t>Räumliche</a:t>
              </a:r>
              <a:r>
                <a:rPr lang="en-US" sz="1800" i="1" dirty="0">
                  <a:solidFill>
                    <a:schemeClr val="tx1"/>
                  </a:solidFill>
                </a:rPr>
                <a:t> </a:t>
              </a:r>
              <a:r>
                <a:rPr lang="en-US" sz="1800" i="1" dirty="0" err="1">
                  <a:solidFill>
                    <a:schemeClr val="tx1"/>
                  </a:solidFill>
                </a:rPr>
                <a:t>Korrelation</a:t>
              </a:r>
              <a:r>
                <a:rPr lang="en-US" sz="1800" i="1" dirty="0">
                  <a:solidFill>
                    <a:schemeClr val="tx1"/>
                  </a:solidFill>
                </a:rPr>
                <a:t>“ </a:t>
              </a:r>
              <a:r>
                <a:rPr lang="en-US" sz="1800" dirty="0">
                  <a:solidFill>
                    <a:schemeClr val="tx1"/>
                  </a:solidFill>
                </a:rPr>
                <a:t>von EE- und </a:t>
              </a:r>
              <a:r>
                <a:rPr lang="en-US" sz="1800" dirty="0" err="1">
                  <a:solidFill>
                    <a:schemeClr val="tx1"/>
                  </a:solidFill>
                </a:rPr>
                <a:t>PtG</a:t>
              </a:r>
              <a:r>
                <a:rPr lang="en-US" sz="1800" dirty="0">
                  <a:solidFill>
                    <a:schemeClr val="tx1"/>
                  </a:solidFill>
                </a:rPr>
                <a:t>-Anlagen</a:t>
              </a:r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8A8D9EFD-04AC-49F0-B4CD-6D5703DF8FE3}"/>
                </a:ext>
              </a:extLst>
            </p:cNvPr>
            <p:cNvGrpSpPr/>
            <p:nvPr/>
          </p:nvGrpSpPr>
          <p:grpSpPr>
            <a:xfrm>
              <a:off x="1184574" y="2898343"/>
              <a:ext cx="338400" cy="338400"/>
              <a:chOff x="8609279" y="2846376"/>
              <a:chExt cx="338400" cy="338400"/>
            </a:xfrm>
          </p:grpSpPr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EC9AAD65-4735-4DD0-94C7-4BBD49CA559E}"/>
                  </a:ext>
                </a:extLst>
              </p:cNvPr>
              <p:cNvSpPr/>
              <p:nvPr/>
            </p:nvSpPr>
            <p:spPr>
              <a:xfrm>
                <a:off x="8609279" y="2846376"/>
                <a:ext cx="338400" cy="338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7" name="Grafik 6" descr="Route zwei Stecknadeln mit Weg mit einfarbiger Füllung">
                <a:extLst>
                  <a:ext uri="{FF2B5EF4-FFF2-40B4-BE49-F238E27FC236}">
                    <a16:creationId xmlns:a16="http://schemas.microsoft.com/office/drawing/2014/main" id="{FA7C76EF-CE5E-452C-9273-F722F1DC2E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616479" y="2853576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7EFA6080-2198-491A-A444-7B8D0D6B84A0}"/>
              </a:ext>
            </a:extLst>
          </p:cNvPr>
          <p:cNvGrpSpPr/>
          <p:nvPr/>
        </p:nvGrpSpPr>
        <p:grpSpPr>
          <a:xfrm>
            <a:off x="1186111" y="3579203"/>
            <a:ext cx="6075203" cy="338400"/>
            <a:chOff x="1184574" y="3330628"/>
            <a:chExt cx="6075203" cy="3384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F1A40134-8C20-49C6-9163-DA21AEAB7201}"/>
                </a:ext>
              </a:extLst>
            </p:cNvPr>
            <p:cNvSpPr/>
            <p:nvPr/>
          </p:nvSpPr>
          <p:spPr>
            <a:xfrm>
              <a:off x="1327360" y="3332428"/>
              <a:ext cx="5932417" cy="33480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en-US" i="1" dirty="0">
                  <a:solidFill>
                    <a:schemeClr val="tx1"/>
                  </a:solidFill>
                </a:rPr>
                <a:t>“</a:t>
              </a:r>
              <a:r>
                <a:rPr lang="en-US" sz="1800" i="1" dirty="0" err="1">
                  <a:solidFill>
                    <a:schemeClr val="tx1"/>
                  </a:solidFill>
                </a:rPr>
                <a:t>Zusätzlichkeit</a:t>
              </a:r>
              <a:r>
                <a:rPr lang="en-US" sz="1800" i="1" dirty="0">
                  <a:solidFill>
                    <a:schemeClr val="tx1"/>
                  </a:solidFill>
                </a:rPr>
                <a:t>“</a:t>
              </a:r>
              <a:r>
                <a:rPr lang="en-US" sz="1800" dirty="0">
                  <a:solidFill>
                    <a:schemeClr val="tx1"/>
                  </a:solidFill>
                </a:rPr>
                <a:t> des EE-</a:t>
              </a:r>
              <a:r>
                <a:rPr lang="en-US" sz="1800" dirty="0" err="1">
                  <a:solidFill>
                    <a:schemeClr val="tx1"/>
                  </a:solidFill>
                </a:rPr>
                <a:t>Stroms</a:t>
              </a:r>
              <a:endParaRPr lang="en-US" sz="1800" dirty="0">
                <a:solidFill>
                  <a:schemeClr val="tx1"/>
                </a:solidFill>
              </a:endParaRPr>
            </a:p>
          </p:txBody>
        </p: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AECE4332-8BF4-4423-B11B-569ACE3791B4}"/>
                </a:ext>
              </a:extLst>
            </p:cNvPr>
            <p:cNvGrpSpPr/>
            <p:nvPr/>
          </p:nvGrpSpPr>
          <p:grpSpPr>
            <a:xfrm>
              <a:off x="1184574" y="3330628"/>
              <a:ext cx="338400" cy="338400"/>
              <a:chOff x="1245167" y="3269858"/>
              <a:chExt cx="338400" cy="338400"/>
            </a:xfrm>
          </p:grpSpPr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D14B34ED-E15D-4A2D-AC66-EA7F5481DD00}"/>
                  </a:ext>
                </a:extLst>
              </p:cNvPr>
              <p:cNvSpPr/>
              <p:nvPr/>
            </p:nvSpPr>
            <p:spPr>
              <a:xfrm>
                <a:off x="1245167" y="3269858"/>
                <a:ext cx="338400" cy="338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3" name="Grafik 12" descr="Marke folgen mit einfarbiger Füllung">
                <a:extLst>
                  <a:ext uri="{FF2B5EF4-FFF2-40B4-BE49-F238E27FC236}">
                    <a16:creationId xmlns:a16="http://schemas.microsoft.com/office/drawing/2014/main" id="{F3D56DBB-2993-4B6F-A72E-2968C7F283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252367" y="3277058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9E127A8-6031-4749-8C7B-6FF111E6A688}"/>
              </a:ext>
            </a:extLst>
          </p:cNvPr>
          <p:cNvGrpSpPr/>
          <p:nvPr/>
        </p:nvGrpSpPr>
        <p:grpSpPr>
          <a:xfrm>
            <a:off x="1189711" y="2704138"/>
            <a:ext cx="6075247" cy="338400"/>
            <a:chOff x="1194848" y="2455563"/>
            <a:chExt cx="6075247" cy="3384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7CDD3EA2-EC45-4583-8A85-225B0FCDAA63}"/>
                </a:ext>
              </a:extLst>
            </p:cNvPr>
            <p:cNvSpPr/>
            <p:nvPr/>
          </p:nvSpPr>
          <p:spPr>
            <a:xfrm>
              <a:off x="1330434" y="2457363"/>
              <a:ext cx="5939661" cy="33480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en-US" i="1" dirty="0">
                  <a:solidFill>
                    <a:schemeClr val="tx1"/>
                  </a:solidFill>
                </a:rPr>
                <a:t>“</a:t>
              </a:r>
              <a:r>
                <a:rPr lang="en-US" sz="1800" i="1" dirty="0" err="1">
                  <a:solidFill>
                    <a:schemeClr val="tx1"/>
                  </a:solidFill>
                </a:rPr>
                <a:t>Zeitliche</a:t>
              </a:r>
              <a:r>
                <a:rPr lang="en-US" sz="1800" i="1" dirty="0">
                  <a:solidFill>
                    <a:schemeClr val="tx1"/>
                  </a:solidFill>
                </a:rPr>
                <a:t> </a:t>
              </a:r>
              <a:r>
                <a:rPr lang="en-US" sz="1800" i="1" dirty="0" err="1">
                  <a:solidFill>
                    <a:schemeClr val="tx1"/>
                  </a:solidFill>
                </a:rPr>
                <a:t>Korrelation</a:t>
              </a:r>
              <a:r>
                <a:rPr lang="en-US" sz="1800" i="1" dirty="0">
                  <a:solidFill>
                    <a:schemeClr val="tx1"/>
                  </a:solidFill>
                </a:rPr>
                <a:t>“ </a:t>
              </a:r>
              <a:r>
                <a:rPr lang="en-US" sz="1800" dirty="0">
                  <a:solidFill>
                    <a:schemeClr val="tx1"/>
                  </a:solidFill>
                </a:rPr>
                <a:t>von EE und </a:t>
              </a:r>
              <a:r>
                <a:rPr lang="en-US" sz="1800" dirty="0" err="1">
                  <a:solidFill>
                    <a:schemeClr val="tx1"/>
                  </a:solidFill>
                </a:rPr>
                <a:t>Wasserstofferzeugung</a:t>
              </a:r>
              <a:endParaRPr lang="en-US" sz="1800" dirty="0">
                <a:solidFill>
                  <a:schemeClr val="tx1"/>
                </a:solidFill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FBB3D6D0-1D5A-4992-A878-8CFF6701A066}"/>
                </a:ext>
              </a:extLst>
            </p:cNvPr>
            <p:cNvGrpSpPr/>
            <p:nvPr/>
          </p:nvGrpSpPr>
          <p:grpSpPr>
            <a:xfrm>
              <a:off x="1194848" y="2455563"/>
              <a:ext cx="338400" cy="338400"/>
              <a:chOff x="7958463" y="2569449"/>
              <a:chExt cx="338400" cy="338400"/>
            </a:xfrm>
          </p:grpSpPr>
          <p:sp>
            <p:nvSpPr>
              <p:cNvPr id="5" name="Ellipse 4">
                <a:extLst>
                  <a:ext uri="{FF2B5EF4-FFF2-40B4-BE49-F238E27FC236}">
                    <a16:creationId xmlns:a16="http://schemas.microsoft.com/office/drawing/2014/main" id="{38602C86-82A5-4982-8CA9-7DD73DCD742C}"/>
                  </a:ext>
                </a:extLst>
              </p:cNvPr>
              <p:cNvSpPr/>
              <p:nvPr/>
            </p:nvSpPr>
            <p:spPr>
              <a:xfrm>
                <a:off x="7958463" y="2569449"/>
                <a:ext cx="338400" cy="338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5" name="Grafik 14" descr="Sanduhr abgelaufen mit einfarbiger Füllung">
                <a:extLst>
                  <a:ext uri="{FF2B5EF4-FFF2-40B4-BE49-F238E27FC236}">
                    <a16:creationId xmlns:a16="http://schemas.microsoft.com/office/drawing/2014/main" id="{4B0C61CF-FC35-474E-A22F-E2F2174A98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965663" y="2576649"/>
                <a:ext cx="324000" cy="324000"/>
              </a:xfrm>
              <a:prstGeom prst="rect">
                <a:avLst/>
              </a:prstGeom>
            </p:spPr>
          </p:pic>
        </p:grpSp>
      </p:grpSp>
      <p:sp>
        <p:nvSpPr>
          <p:cNvPr id="23" name="Abgerundetes Rechteck 55">
            <a:extLst>
              <a:ext uri="{FF2B5EF4-FFF2-40B4-BE49-F238E27FC236}">
                <a16:creationId xmlns:a16="http://schemas.microsoft.com/office/drawing/2014/main" id="{50C385E6-9639-4272-8AA6-FEC580A24124}"/>
              </a:ext>
            </a:extLst>
          </p:cNvPr>
          <p:cNvSpPr/>
          <p:nvPr/>
        </p:nvSpPr>
        <p:spPr>
          <a:xfrm>
            <a:off x="1537406" y="5104198"/>
            <a:ext cx="8639865" cy="769690"/>
          </a:xfrm>
          <a:prstGeom prst="round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i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zeitlich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Interakt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von EE-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rzeugu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trompreise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Wasserstofferzeugu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estimm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di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Wirtschaftlichkei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lektrolyseur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Flussdiagramm: Auszug 25">
            <a:extLst>
              <a:ext uri="{FF2B5EF4-FFF2-40B4-BE49-F238E27FC236}">
                <a16:creationId xmlns:a16="http://schemas.microsoft.com/office/drawing/2014/main" id="{80B8816B-FF78-4768-B510-AB9B28456979}"/>
              </a:ext>
            </a:extLst>
          </p:cNvPr>
          <p:cNvSpPr/>
          <p:nvPr/>
        </p:nvSpPr>
        <p:spPr>
          <a:xfrm rot="5400000">
            <a:off x="965297" y="5316026"/>
            <a:ext cx="720000" cy="346034"/>
          </a:xfrm>
          <a:prstGeom prst="flowChartExtra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2278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46011587-8992-4BF4-944E-36F6B765BC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13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46011587-8992-4BF4-944E-36F6B765BC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Literatur</a:t>
            </a:r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4D1BCFC-C60B-4F7C-8284-05CED1844E4E}"/>
              </a:ext>
            </a:extLst>
          </p:cNvPr>
          <p:cNvSpPr/>
          <p:nvPr/>
        </p:nvSpPr>
        <p:spPr>
          <a:xfrm>
            <a:off x="1617392" y="1679598"/>
            <a:ext cx="2421037" cy="2421037"/>
          </a:xfrm>
          <a:prstGeom prst="ellipse">
            <a:avLst/>
          </a:prstGeom>
          <a:solidFill>
            <a:srgbClr val="DEEBF7">
              <a:alpha val="74902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tschaftlich-keit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n </a:t>
            </a:r>
            <a:r>
              <a:rPr lang="en-US" sz="1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G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Anlage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F7D22F8-0604-414E-92B4-4096981DA794}"/>
              </a:ext>
            </a:extLst>
          </p:cNvPr>
          <p:cNvSpPr/>
          <p:nvPr/>
        </p:nvSpPr>
        <p:spPr>
          <a:xfrm>
            <a:off x="3808950" y="1679599"/>
            <a:ext cx="2421037" cy="2421037"/>
          </a:xfrm>
          <a:prstGeom prst="ellipse">
            <a:avLst/>
          </a:prstGeom>
          <a:solidFill>
            <a:srgbClr val="D0CECE">
              <a:alpha val="74902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E-</a:t>
            </a:r>
            <a:r>
              <a:rPr lang="en-US" sz="1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atilität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en-US" sz="1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mmärkte</a:t>
            </a:r>
            <a:endParaRPr lang="en-US" sz="1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4C776D-D45B-4F44-8186-1EA31E3F288D}"/>
              </a:ext>
            </a:extLst>
          </p:cNvPr>
          <p:cNvSpPr/>
          <p:nvPr/>
        </p:nvSpPr>
        <p:spPr>
          <a:xfrm>
            <a:off x="2713171" y="3571121"/>
            <a:ext cx="2421037" cy="2421037"/>
          </a:xfrm>
          <a:prstGeom prst="ellipse">
            <a:avLst/>
          </a:prstGeom>
          <a:solidFill>
            <a:srgbClr val="FFE699">
              <a:alpha val="74902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satz-optimierung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e-märkten</a:t>
            </a:r>
            <a:endParaRPr lang="en-US" sz="1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662CB9-7632-49DE-A413-88CFF9547CF7}"/>
              </a:ext>
            </a:extLst>
          </p:cNvPr>
          <p:cNvSpPr txBox="1"/>
          <p:nvPr/>
        </p:nvSpPr>
        <p:spPr>
          <a:xfrm>
            <a:off x="3364276" y="3915233"/>
            <a:ext cx="1212658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Çam (2020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FDFACD-23E9-458D-8486-0B4F0F277EAA}"/>
              </a:ext>
            </a:extLst>
          </p:cNvPr>
          <p:cNvSpPr txBox="1"/>
          <p:nvPr/>
        </p:nvSpPr>
        <p:spPr>
          <a:xfrm>
            <a:off x="4222717" y="1926884"/>
            <a:ext cx="177545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Elberg et al. (2015)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C81A7A-495B-45C4-BDB5-8E2C43DEA87E}"/>
              </a:ext>
            </a:extLst>
          </p:cNvPr>
          <p:cNvSpPr txBox="1"/>
          <p:nvPr/>
        </p:nvSpPr>
        <p:spPr>
          <a:xfrm>
            <a:off x="2023280" y="1799220"/>
            <a:ext cx="177545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Glenk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et al. (2019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48582B-29E6-4827-A5FD-174175DC858C}"/>
              </a:ext>
            </a:extLst>
          </p:cNvPr>
          <p:cNvSpPr txBox="1"/>
          <p:nvPr/>
        </p:nvSpPr>
        <p:spPr>
          <a:xfrm>
            <a:off x="2023281" y="2022907"/>
            <a:ext cx="177545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Glenk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et al. (2020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F4331B9A-037E-44FB-85C4-8146ECF9A500}"/>
              </a:ext>
            </a:extLst>
          </p:cNvPr>
          <p:cNvSpPr txBox="1"/>
          <p:nvPr/>
        </p:nvSpPr>
        <p:spPr>
          <a:xfrm>
            <a:off x="1841518" y="3295170"/>
            <a:ext cx="170331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reyer et al. (2020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0">
            <a:extLst>
              <a:ext uri="{FF2B5EF4-FFF2-40B4-BE49-F238E27FC236}">
                <a16:creationId xmlns:a16="http://schemas.microsoft.com/office/drawing/2014/main" id="{BE5D55EC-D55A-4AE7-A660-60DB717666C8}"/>
              </a:ext>
            </a:extLst>
          </p:cNvPr>
          <p:cNvSpPr txBox="1"/>
          <p:nvPr/>
        </p:nvSpPr>
        <p:spPr>
          <a:xfrm>
            <a:off x="1934508" y="2211081"/>
            <a:ext cx="195299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Van Leeuwen (2018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C839411D-5ED2-4DF1-916B-17AC87AD5A21}"/>
              </a:ext>
            </a:extLst>
          </p:cNvPr>
          <p:cNvSpPr/>
          <p:nvPr/>
        </p:nvSpPr>
        <p:spPr>
          <a:xfrm>
            <a:off x="3824825" y="3402017"/>
            <a:ext cx="197730" cy="174097"/>
          </a:xfrm>
          <a:custGeom>
            <a:avLst/>
            <a:gdLst>
              <a:gd name="connsiteX0" fmla="*/ 98865 w 197730"/>
              <a:gd name="connsiteY0" fmla="*/ 0 h 174097"/>
              <a:gd name="connsiteX1" fmla="*/ 130228 w 197730"/>
              <a:gd name="connsiteY1" fmla="*/ 65106 h 174097"/>
              <a:gd name="connsiteX2" fmla="*/ 190863 w 197730"/>
              <a:gd name="connsiteY2" fmla="*/ 164914 h 174097"/>
              <a:gd name="connsiteX3" fmla="*/ 197730 w 197730"/>
              <a:gd name="connsiteY3" fmla="*/ 174097 h 174097"/>
              <a:gd name="connsiteX4" fmla="*/ 98865 w 197730"/>
              <a:gd name="connsiteY4" fmla="*/ 169104 h 174097"/>
              <a:gd name="connsiteX5" fmla="*/ 0 w 197730"/>
              <a:gd name="connsiteY5" fmla="*/ 174097 h 174097"/>
              <a:gd name="connsiteX6" fmla="*/ 6867 w 197730"/>
              <a:gd name="connsiteY6" fmla="*/ 164913 h 174097"/>
              <a:gd name="connsiteX7" fmla="*/ 67502 w 197730"/>
              <a:gd name="connsiteY7" fmla="*/ 65105 h 174097"/>
              <a:gd name="connsiteX8" fmla="*/ 98865 w 197730"/>
              <a:gd name="connsiteY8" fmla="*/ 0 h 174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7730" h="174097">
                <a:moveTo>
                  <a:pt x="98865" y="0"/>
                </a:moveTo>
                <a:lnTo>
                  <a:pt x="130228" y="65106"/>
                </a:lnTo>
                <a:cubicBezTo>
                  <a:pt x="148864" y="99411"/>
                  <a:pt x="169109" y="132714"/>
                  <a:pt x="190863" y="164914"/>
                </a:cubicBezTo>
                <a:lnTo>
                  <a:pt x="197730" y="174097"/>
                </a:lnTo>
                <a:lnTo>
                  <a:pt x="98865" y="169104"/>
                </a:lnTo>
                <a:lnTo>
                  <a:pt x="0" y="174097"/>
                </a:lnTo>
                <a:lnTo>
                  <a:pt x="6867" y="164913"/>
                </a:lnTo>
                <a:cubicBezTo>
                  <a:pt x="28621" y="132713"/>
                  <a:pt x="48867" y="99410"/>
                  <a:pt x="67502" y="65105"/>
                </a:cubicBezTo>
                <a:lnTo>
                  <a:pt x="98865" y="0"/>
                </a:lnTo>
                <a:close/>
              </a:path>
            </a:pathLst>
          </a:custGeom>
          <a:solidFill>
            <a:srgbClr val="C00000">
              <a:alpha val="74902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/>
            <a:endParaRPr lang="en-US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Legende: mit gebogener Linie ohne Rahmen 11">
            <a:extLst>
              <a:ext uri="{FF2B5EF4-FFF2-40B4-BE49-F238E27FC236}">
                <a16:creationId xmlns:a16="http://schemas.microsoft.com/office/drawing/2014/main" id="{038C0246-E35E-4EDF-BD82-6FAF40C5C15C}"/>
              </a:ext>
            </a:extLst>
          </p:cNvPr>
          <p:cNvSpPr/>
          <p:nvPr/>
        </p:nvSpPr>
        <p:spPr>
          <a:xfrm>
            <a:off x="6754127" y="4344304"/>
            <a:ext cx="4317507" cy="939884"/>
          </a:xfrm>
          <a:prstGeom prst="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85985"/>
              <a:gd name="adj6" fmla="val -65461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i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Abgerundetes Rechteck 55">
            <a:extLst>
              <a:ext uri="{FF2B5EF4-FFF2-40B4-BE49-F238E27FC236}">
                <a16:creationId xmlns:a16="http://schemas.microsoft.com/office/drawing/2014/main" id="{692FC60D-16FE-4FE1-A745-BCBE8FA7C7B5}"/>
              </a:ext>
            </a:extLst>
          </p:cNvPr>
          <p:cNvSpPr/>
          <p:nvPr/>
        </p:nvSpPr>
        <p:spPr>
          <a:xfrm>
            <a:off x="6888114" y="3651505"/>
            <a:ext cx="4183520" cy="1713067"/>
          </a:xfrm>
          <a:prstGeom prst="round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e gestaltet sich die </a:t>
            </a:r>
            <a:r>
              <a:rPr lang="de-DE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tschaftlichkeit </a:t>
            </a:r>
            <a:r>
              <a:rPr lang="de-DE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n </a:t>
            </a:r>
            <a:r>
              <a:rPr lang="de-DE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zgekoppelten</a:t>
            </a:r>
            <a:r>
              <a:rPr lang="de-DE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ektrolyseuren unter der Berücksichtigung regulatorischer Anforderungen an die </a:t>
            </a:r>
            <a:r>
              <a:rPr lang="de-DE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eichzeitigkeit</a:t>
            </a:r>
            <a:r>
              <a:rPr lang="de-DE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n EE-Strom?</a:t>
            </a:r>
          </a:p>
        </p:txBody>
      </p:sp>
      <p:sp>
        <p:nvSpPr>
          <p:cNvPr id="23" name="Flussdiagramm: Auszug 22">
            <a:extLst>
              <a:ext uri="{FF2B5EF4-FFF2-40B4-BE49-F238E27FC236}">
                <a16:creationId xmlns:a16="http://schemas.microsoft.com/office/drawing/2014/main" id="{A5810E11-A66F-4661-8D0A-B2A95C4614C4}"/>
              </a:ext>
            </a:extLst>
          </p:cNvPr>
          <p:cNvSpPr/>
          <p:nvPr/>
        </p:nvSpPr>
        <p:spPr>
          <a:xfrm rot="5400000">
            <a:off x="5819471" y="4335024"/>
            <a:ext cx="1713066" cy="346034"/>
          </a:xfrm>
          <a:prstGeom prst="flowChartExtra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1F7C43C0-1CDD-44AE-A719-E4A22E14DA18}"/>
              </a:ext>
            </a:extLst>
          </p:cNvPr>
          <p:cNvSpPr txBox="1"/>
          <p:nvPr/>
        </p:nvSpPr>
        <p:spPr>
          <a:xfrm>
            <a:off x="1716676" y="3532141"/>
            <a:ext cx="195299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Kopp et al. (2017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8">
            <a:extLst>
              <a:ext uri="{FF2B5EF4-FFF2-40B4-BE49-F238E27FC236}">
                <a16:creationId xmlns:a16="http://schemas.microsoft.com/office/drawing/2014/main" id="{BAF339A2-F528-4130-B8AB-CDE3DB3A61A5}"/>
              </a:ext>
            </a:extLst>
          </p:cNvPr>
          <p:cNvSpPr txBox="1"/>
          <p:nvPr/>
        </p:nvSpPr>
        <p:spPr>
          <a:xfrm>
            <a:off x="4382983" y="3462897"/>
            <a:ext cx="1775450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Burger et al. </a:t>
            </a:r>
          </a:p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(2004)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7">
            <a:extLst>
              <a:ext uri="{FF2B5EF4-FFF2-40B4-BE49-F238E27FC236}">
                <a16:creationId xmlns:a16="http://schemas.microsoft.com/office/drawing/2014/main" id="{85EE6AED-4087-4998-8B57-88BA09FCE8EC}"/>
              </a:ext>
            </a:extLst>
          </p:cNvPr>
          <p:cNvSpPr txBox="1"/>
          <p:nvPr/>
        </p:nvSpPr>
        <p:spPr>
          <a:xfrm>
            <a:off x="2802298" y="5214353"/>
            <a:ext cx="229957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Baumann et al. (2013)</a:t>
            </a:r>
          </a:p>
        </p:txBody>
      </p:sp>
      <p:sp>
        <p:nvSpPr>
          <p:cNvPr id="27" name="TextBox 7">
            <a:extLst>
              <a:ext uri="{FF2B5EF4-FFF2-40B4-BE49-F238E27FC236}">
                <a16:creationId xmlns:a16="http://schemas.microsoft.com/office/drawing/2014/main" id="{64F5AA3F-A783-4A24-B789-F747771AA250}"/>
              </a:ext>
            </a:extLst>
          </p:cNvPr>
          <p:cNvSpPr txBox="1"/>
          <p:nvPr/>
        </p:nvSpPr>
        <p:spPr>
          <a:xfrm>
            <a:off x="2735623" y="5459104"/>
            <a:ext cx="2440514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Beiron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et al. (2020)</a:t>
            </a:r>
          </a:p>
        </p:txBody>
      </p:sp>
    </p:spTree>
    <p:extLst>
      <p:ext uri="{BB962C8B-B14F-4D97-AF65-F5344CB8AC3E}">
        <p14:creationId xmlns:p14="http://schemas.microsoft.com/office/powerpoint/2010/main" val="2423556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/>
      <p:bldP spid="9" grpId="0"/>
      <p:bldP spid="10" grpId="0"/>
      <p:bldP spid="11" grpId="0"/>
      <p:bldP spid="16" grpId="0"/>
      <p:bldP spid="17" grpId="0"/>
      <p:bldP spid="19" grpId="0" animBg="1"/>
      <p:bldP spid="12" grpId="0" animBg="1"/>
      <p:bldP spid="22" grpId="0" animBg="1"/>
      <p:bldP spid="23" grpId="0" animBg="1"/>
      <p:bldP spid="20" grpId="0"/>
      <p:bldP spid="25" grpId="0"/>
      <p:bldP spid="26" grpId="0"/>
      <p:bldP spid="2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EF18700-D7A0-403F-9389-32D93E5A9D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19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EF18700-D7A0-403F-9389-32D93E5A9D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Methodik</a:t>
            </a:r>
            <a:endParaRPr lang="en-US" dirty="0"/>
          </a:p>
        </p:txBody>
      </p:sp>
      <p:sp>
        <p:nvSpPr>
          <p:cNvPr id="27" name="Gleichschenkliges Dreieck 26">
            <a:extLst>
              <a:ext uri="{FF2B5EF4-FFF2-40B4-BE49-F238E27FC236}">
                <a16:creationId xmlns:a16="http://schemas.microsoft.com/office/drawing/2014/main" id="{FF8A7D44-4C36-4092-AB45-EE9196CAC84E}"/>
              </a:ext>
            </a:extLst>
          </p:cNvPr>
          <p:cNvSpPr/>
          <p:nvPr/>
        </p:nvSpPr>
        <p:spPr>
          <a:xfrm rot="5400000">
            <a:off x="2192339" y="3077778"/>
            <a:ext cx="3528609" cy="581756"/>
          </a:xfrm>
          <a:prstGeom prst="triangle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783B62D-A234-4EC8-BC58-C2DA103BCF0C}"/>
              </a:ext>
            </a:extLst>
          </p:cNvPr>
          <p:cNvGrpSpPr/>
          <p:nvPr/>
        </p:nvGrpSpPr>
        <p:grpSpPr>
          <a:xfrm>
            <a:off x="864617" y="1660879"/>
            <a:ext cx="2520000" cy="1440000"/>
            <a:chOff x="837983" y="1793121"/>
            <a:chExt cx="2520000" cy="144000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2D4A4350-37AF-4069-9F4B-88D8AFEFCE79}"/>
                </a:ext>
              </a:extLst>
            </p:cNvPr>
            <p:cNvSpPr/>
            <p:nvPr/>
          </p:nvSpPr>
          <p:spPr>
            <a:xfrm>
              <a:off x="837983" y="1793121"/>
              <a:ext cx="2520000" cy="144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457A9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ression </a:t>
              </a:r>
            </a:p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n Day-</a:t>
              </a:r>
            </a:p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head- und </a:t>
              </a:r>
            </a:p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aday-</a:t>
              </a:r>
            </a:p>
            <a:p>
              <a:r>
                <a:rPr lang="en-US" sz="14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isen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B0E463A8-E794-4BA3-A04C-81667FB0BC3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094445" y="2169402"/>
              <a:ext cx="1080000" cy="685813"/>
              <a:chOff x="1141971" y="4565040"/>
              <a:chExt cx="1742100" cy="1106254"/>
            </a:xfrm>
          </p:grpSpPr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A9E62213-516F-4ED7-A867-75BF8453E846}"/>
                  </a:ext>
                </a:extLst>
              </p:cNvPr>
              <p:cNvGrpSpPr/>
              <p:nvPr/>
            </p:nvGrpSpPr>
            <p:grpSpPr>
              <a:xfrm>
                <a:off x="1141971" y="4565040"/>
                <a:ext cx="1742100" cy="1106254"/>
                <a:chOff x="1056246" y="4635500"/>
                <a:chExt cx="1742100" cy="1106254"/>
              </a:xfrm>
            </p:grpSpPr>
            <p:cxnSp>
              <p:nvCxnSpPr>
                <p:cNvPr id="33" name="Gerade Verbindung mit Pfeil 32">
                  <a:extLst>
                    <a:ext uri="{FF2B5EF4-FFF2-40B4-BE49-F238E27FC236}">
                      <a16:creationId xmlns:a16="http://schemas.microsoft.com/office/drawing/2014/main" id="{2A3F84F8-9E3C-46C2-B665-21239AE30FD0}"/>
                    </a:ext>
                  </a:extLst>
                </p:cNvPr>
                <p:cNvCxnSpPr/>
                <p:nvPr/>
              </p:nvCxnSpPr>
              <p:spPr>
                <a:xfrm>
                  <a:off x="1056246" y="5741754"/>
                  <a:ext cx="1742100" cy="0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Gerade Verbindung mit Pfeil 33">
                  <a:extLst>
                    <a:ext uri="{FF2B5EF4-FFF2-40B4-BE49-F238E27FC236}">
                      <a16:creationId xmlns:a16="http://schemas.microsoft.com/office/drawing/2014/main" id="{795ADC82-F45B-422E-B010-CA5A0846DB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74002" y="4635500"/>
                  <a:ext cx="0" cy="1104900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62DA28EB-DEFC-40EC-993A-C5B0AE73F6A0}"/>
                  </a:ext>
                </a:extLst>
              </p:cNvPr>
              <p:cNvSpPr/>
              <p:nvPr/>
            </p:nvSpPr>
            <p:spPr>
              <a:xfrm>
                <a:off x="1405538" y="4712677"/>
                <a:ext cx="1139992" cy="809625"/>
              </a:xfrm>
              <a:custGeom>
                <a:avLst/>
                <a:gdLst>
                  <a:gd name="connsiteX0" fmla="*/ 0 w 1114425"/>
                  <a:gd name="connsiteY0" fmla="*/ 781050 h 781050"/>
                  <a:gd name="connsiteX1" fmla="*/ 190500 w 1114425"/>
                  <a:gd name="connsiteY1" fmla="*/ 400050 h 781050"/>
                  <a:gd name="connsiteX2" fmla="*/ 733425 w 1114425"/>
                  <a:gd name="connsiteY2" fmla="*/ 323850 h 781050"/>
                  <a:gd name="connsiteX3" fmla="*/ 1114425 w 1114425"/>
                  <a:gd name="connsiteY3" fmla="*/ 0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425" h="781050">
                    <a:moveTo>
                      <a:pt x="0" y="781050"/>
                    </a:moveTo>
                    <a:cubicBezTo>
                      <a:pt x="34131" y="628650"/>
                      <a:pt x="68263" y="476250"/>
                      <a:pt x="190500" y="400050"/>
                    </a:cubicBezTo>
                    <a:cubicBezTo>
                      <a:pt x="312738" y="323850"/>
                      <a:pt x="579438" y="390525"/>
                      <a:pt x="733425" y="323850"/>
                    </a:cubicBezTo>
                    <a:cubicBezTo>
                      <a:pt x="887413" y="257175"/>
                      <a:pt x="1031875" y="47625"/>
                      <a:pt x="1114425" y="0"/>
                    </a:cubicBezTo>
                  </a:path>
                </a:pathLst>
              </a:custGeom>
              <a:noFill/>
              <a:ln w="38100">
                <a:solidFill>
                  <a:srgbClr val="457A9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A2FDDBA8-D67C-4284-93D1-0B830418BAA2}"/>
                  </a:ext>
                </a:extLst>
              </p:cNvPr>
              <p:cNvSpPr/>
              <p:nvPr/>
            </p:nvSpPr>
            <p:spPr>
              <a:xfrm>
                <a:off x="2500652" y="4626390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931A6F8C-AF67-4397-8664-4DB6027F9B57}"/>
                  </a:ext>
                </a:extLst>
              </p:cNvPr>
              <p:cNvSpPr/>
              <p:nvPr/>
            </p:nvSpPr>
            <p:spPr>
              <a:xfrm>
                <a:off x="2212314" y="5118258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B5DA9602-FD77-47AE-AB88-10D33D831262}"/>
                  </a:ext>
                </a:extLst>
              </p:cNvPr>
              <p:cNvSpPr/>
              <p:nvPr/>
            </p:nvSpPr>
            <p:spPr>
              <a:xfrm>
                <a:off x="1571624" y="5365444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84B83792-A0DF-4EF9-8945-9F2D1E54983A}"/>
                  </a:ext>
                </a:extLst>
              </p:cNvPr>
              <p:cNvSpPr/>
              <p:nvPr/>
            </p:nvSpPr>
            <p:spPr>
              <a:xfrm>
                <a:off x="1751425" y="5145966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Ellipse 49">
                <a:extLst>
                  <a:ext uri="{FF2B5EF4-FFF2-40B4-BE49-F238E27FC236}">
                    <a16:creationId xmlns:a16="http://schemas.microsoft.com/office/drawing/2014/main" id="{4F110591-7117-4EDC-8524-F7816E50E02E}"/>
                  </a:ext>
                </a:extLst>
              </p:cNvPr>
              <p:cNvSpPr/>
              <p:nvPr/>
            </p:nvSpPr>
            <p:spPr>
              <a:xfrm>
                <a:off x="1571624" y="4967061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Ellipse 50">
                <a:extLst>
                  <a:ext uri="{FF2B5EF4-FFF2-40B4-BE49-F238E27FC236}">
                    <a16:creationId xmlns:a16="http://schemas.microsoft.com/office/drawing/2014/main" id="{BA0DA61F-1935-47A4-9944-F1BE2DD4C57E}"/>
                  </a:ext>
                </a:extLst>
              </p:cNvPr>
              <p:cNvSpPr/>
              <p:nvPr/>
            </p:nvSpPr>
            <p:spPr>
              <a:xfrm>
                <a:off x="1872302" y="5051600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Ellipse 51">
                <a:extLst>
                  <a:ext uri="{FF2B5EF4-FFF2-40B4-BE49-F238E27FC236}">
                    <a16:creationId xmlns:a16="http://schemas.microsoft.com/office/drawing/2014/main" id="{8EE1B110-4426-4B17-BB53-3D7C74343AE0}"/>
                  </a:ext>
                </a:extLst>
              </p:cNvPr>
              <p:cNvSpPr/>
              <p:nvPr/>
            </p:nvSpPr>
            <p:spPr>
              <a:xfrm>
                <a:off x="1483413" y="5145966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1730349-FAEE-4170-AA33-105B51D50F60}"/>
                  </a:ext>
                </a:extLst>
              </p:cNvPr>
              <p:cNvSpPr/>
              <p:nvPr/>
            </p:nvSpPr>
            <p:spPr>
              <a:xfrm>
                <a:off x="1288660" y="5402677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Ellipse 53">
                <a:extLst>
                  <a:ext uri="{FF2B5EF4-FFF2-40B4-BE49-F238E27FC236}">
                    <a16:creationId xmlns:a16="http://schemas.microsoft.com/office/drawing/2014/main" id="{6790EE85-9EA0-4D5C-80B0-621CA833153A}"/>
                  </a:ext>
                </a:extLst>
              </p:cNvPr>
              <p:cNvSpPr/>
              <p:nvPr/>
            </p:nvSpPr>
            <p:spPr>
              <a:xfrm>
                <a:off x="2338669" y="4793384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Ellipse 54">
                <a:extLst>
                  <a:ext uri="{FF2B5EF4-FFF2-40B4-BE49-F238E27FC236}">
                    <a16:creationId xmlns:a16="http://schemas.microsoft.com/office/drawing/2014/main" id="{ED594089-B7C3-4000-9FB8-4B41381E8B11}"/>
                  </a:ext>
                </a:extLst>
              </p:cNvPr>
              <p:cNvSpPr/>
              <p:nvPr/>
            </p:nvSpPr>
            <p:spPr>
              <a:xfrm>
                <a:off x="2099870" y="4878169"/>
                <a:ext cx="72000" cy="72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1A147C0-4308-44D5-B48C-5E57673F773A}"/>
              </a:ext>
            </a:extLst>
          </p:cNvPr>
          <p:cNvGrpSpPr/>
          <p:nvPr/>
        </p:nvGrpSpPr>
        <p:grpSpPr>
          <a:xfrm>
            <a:off x="864617" y="3636434"/>
            <a:ext cx="2520000" cy="1440000"/>
            <a:chOff x="837983" y="4398065"/>
            <a:chExt cx="2520000" cy="1440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698D3F08-E543-41B3-A777-1ADE77648689}"/>
                </a:ext>
              </a:extLst>
            </p:cNvPr>
            <p:cNvSpPr/>
            <p:nvPr/>
          </p:nvSpPr>
          <p:spPr>
            <a:xfrm>
              <a:off x="837983" y="4398065"/>
              <a:ext cx="2520000" cy="144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457A9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te-Carlo-</a:t>
              </a:r>
            </a:p>
            <a:p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iehungen </a:t>
              </a:r>
            </a:p>
            <a:p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n Wind-</a:t>
              </a:r>
            </a:p>
            <a:p>
              <a:r>
                <a:rPr lang="de-DE" sz="14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inspeis</a:t>
              </a: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</a:p>
            <a:p>
              <a:r>
                <a:rPr lang="de-DE" sz="14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gen</a:t>
              </a:r>
              <a:endPara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F609D27A-1EC4-4103-A02A-56523C99C76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094445" y="4777981"/>
              <a:ext cx="1080000" cy="700084"/>
              <a:chOff x="3913577" y="4542020"/>
              <a:chExt cx="1742100" cy="1129274"/>
            </a:xfrm>
          </p:grpSpPr>
          <p:grpSp>
            <p:nvGrpSpPr>
              <p:cNvPr id="38" name="Gruppieren 37">
                <a:extLst>
                  <a:ext uri="{FF2B5EF4-FFF2-40B4-BE49-F238E27FC236}">
                    <a16:creationId xmlns:a16="http://schemas.microsoft.com/office/drawing/2014/main" id="{CC7DEED6-64A4-46F4-8D0F-3595341C28DE}"/>
                  </a:ext>
                </a:extLst>
              </p:cNvPr>
              <p:cNvGrpSpPr/>
              <p:nvPr/>
            </p:nvGrpSpPr>
            <p:grpSpPr>
              <a:xfrm>
                <a:off x="3913577" y="4565040"/>
                <a:ext cx="1742100" cy="1106254"/>
                <a:chOff x="1056246" y="4635500"/>
                <a:chExt cx="1742100" cy="1106254"/>
              </a:xfrm>
            </p:grpSpPr>
            <p:cxnSp>
              <p:nvCxnSpPr>
                <p:cNvPr id="39" name="Gerade Verbindung mit Pfeil 38">
                  <a:extLst>
                    <a:ext uri="{FF2B5EF4-FFF2-40B4-BE49-F238E27FC236}">
                      <a16:creationId xmlns:a16="http://schemas.microsoft.com/office/drawing/2014/main" id="{148C4C33-60CC-41AD-9A98-4AFE5A343CCE}"/>
                    </a:ext>
                  </a:extLst>
                </p:cNvPr>
                <p:cNvCxnSpPr/>
                <p:nvPr/>
              </p:nvCxnSpPr>
              <p:spPr>
                <a:xfrm>
                  <a:off x="1056246" y="5741754"/>
                  <a:ext cx="1742100" cy="0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Gerade Verbindung mit Pfeil 39">
                  <a:extLst>
                    <a:ext uri="{FF2B5EF4-FFF2-40B4-BE49-F238E27FC236}">
                      <a16:creationId xmlns:a16="http://schemas.microsoft.com/office/drawing/2014/main" id="{6482AC20-0FCD-4B3A-A267-B630F48395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74002" y="4635500"/>
                  <a:ext cx="0" cy="1104900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274162C-81C4-402D-A649-AF4E8971AA0D}"/>
                  </a:ext>
                </a:extLst>
              </p:cNvPr>
              <p:cNvSpPr/>
              <p:nvPr/>
            </p:nvSpPr>
            <p:spPr>
              <a:xfrm>
                <a:off x="4051202" y="4542020"/>
                <a:ext cx="1466850" cy="799311"/>
              </a:xfrm>
              <a:custGeom>
                <a:avLst/>
                <a:gdLst>
                  <a:gd name="connsiteX0" fmla="*/ 0 w 1466850"/>
                  <a:gd name="connsiteY0" fmla="*/ 799311 h 799311"/>
                  <a:gd name="connsiteX1" fmla="*/ 152400 w 1466850"/>
                  <a:gd name="connsiteY1" fmla="*/ 84936 h 799311"/>
                  <a:gd name="connsiteX2" fmla="*/ 295275 w 1466850"/>
                  <a:gd name="connsiteY2" fmla="*/ 504036 h 799311"/>
                  <a:gd name="connsiteX3" fmla="*/ 523875 w 1466850"/>
                  <a:gd name="connsiteY3" fmla="*/ 361161 h 799311"/>
                  <a:gd name="connsiteX4" fmla="*/ 666750 w 1466850"/>
                  <a:gd name="connsiteY4" fmla="*/ 484986 h 799311"/>
                  <a:gd name="connsiteX5" fmla="*/ 923925 w 1466850"/>
                  <a:gd name="connsiteY5" fmla="*/ 265911 h 799311"/>
                  <a:gd name="connsiteX6" fmla="*/ 952500 w 1466850"/>
                  <a:gd name="connsiteY6" fmla="*/ 732636 h 799311"/>
                  <a:gd name="connsiteX7" fmla="*/ 1104900 w 1466850"/>
                  <a:gd name="connsiteY7" fmla="*/ 151611 h 799311"/>
                  <a:gd name="connsiteX8" fmla="*/ 1143000 w 1466850"/>
                  <a:gd name="connsiteY8" fmla="*/ 484986 h 799311"/>
                  <a:gd name="connsiteX9" fmla="*/ 1400175 w 1466850"/>
                  <a:gd name="connsiteY9" fmla="*/ 8736 h 799311"/>
                  <a:gd name="connsiteX10" fmla="*/ 1466850 w 1466850"/>
                  <a:gd name="connsiteY10" fmla="*/ 180186 h 799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66850" h="799311">
                    <a:moveTo>
                      <a:pt x="0" y="799311"/>
                    </a:moveTo>
                    <a:cubicBezTo>
                      <a:pt x="51594" y="466729"/>
                      <a:pt x="103188" y="134148"/>
                      <a:pt x="152400" y="84936"/>
                    </a:cubicBezTo>
                    <a:cubicBezTo>
                      <a:pt x="201612" y="35724"/>
                      <a:pt x="233363" y="457999"/>
                      <a:pt x="295275" y="504036"/>
                    </a:cubicBezTo>
                    <a:cubicBezTo>
                      <a:pt x="357187" y="550073"/>
                      <a:pt x="461962" y="364336"/>
                      <a:pt x="523875" y="361161"/>
                    </a:cubicBezTo>
                    <a:cubicBezTo>
                      <a:pt x="585788" y="357986"/>
                      <a:pt x="600075" y="500861"/>
                      <a:pt x="666750" y="484986"/>
                    </a:cubicBezTo>
                    <a:cubicBezTo>
                      <a:pt x="733425" y="469111"/>
                      <a:pt x="876300" y="224636"/>
                      <a:pt x="923925" y="265911"/>
                    </a:cubicBezTo>
                    <a:cubicBezTo>
                      <a:pt x="971550" y="307186"/>
                      <a:pt x="922338" y="751686"/>
                      <a:pt x="952500" y="732636"/>
                    </a:cubicBezTo>
                    <a:cubicBezTo>
                      <a:pt x="982663" y="713586"/>
                      <a:pt x="1073150" y="192886"/>
                      <a:pt x="1104900" y="151611"/>
                    </a:cubicBezTo>
                    <a:cubicBezTo>
                      <a:pt x="1136650" y="110336"/>
                      <a:pt x="1093788" y="508798"/>
                      <a:pt x="1143000" y="484986"/>
                    </a:cubicBezTo>
                    <a:cubicBezTo>
                      <a:pt x="1192213" y="461173"/>
                      <a:pt x="1346200" y="59536"/>
                      <a:pt x="1400175" y="8736"/>
                    </a:cubicBezTo>
                    <a:cubicBezTo>
                      <a:pt x="1454150" y="-42064"/>
                      <a:pt x="1446213" y="143673"/>
                      <a:pt x="1466850" y="180186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2752491D-3101-45D8-9312-93556D53DC2A}"/>
                  </a:ext>
                </a:extLst>
              </p:cNvPr>
              <p:cNvSpPr/>
              <p:nvPr/>
            </p:nvSpPr>
            <p:spPr>
              <a:xfrm>
                <a:off x="4068012" y="4754602"/>
                <a:ext cx="1466850" cy="799311"/>
              </a:xfrm>
              <a:custGeom>
                <a:avLst/>
                <a:gdLst>
                  <a:gd name="connsiteX0" fmla="*/ 0 w 1466850"/>
                  <a:gd name="connsiteY0" fmla="*/ 799311 h 799311"/>
                  <a:gd name="connsiteX1" fmla="*/ 152400 w 1466850"/>
                  <a:gd name="connsiteY1" fmla="*/ 84936 h 799311"/>
                  <a:gd name="connsiteX2" fmla="*/ 295275 w 1466850"/>
                  <a:gd name="connsiteY2" fmla="*/ 504036 h 799311"/>
                  <a:gd name="connsiteX3" fmla="*/ 523875 w 1466850"/>
                  <a:gd name="connsiteY3" fmla="*/ 361161 h 799311"/>
                  <a:gd name="connsiteX4" fmla="*/ 666750 w 1466850"/>
                  <a:gd name="connsiteY4" fmla="*/ 484986 h 799311"/>
                  <a:gd name="connsiteX5" fmla="*/ 923925 w 1466850"/>
                  <a:gd name="connsiteY5" fmla="*/ 265911 h 799311"/>
                  <a:gd name="connsiteX6" fmla="*/ 952500 w 1466850"/>
                  <a:gd name="connsiteY6" fmla="*/ 732636 h 799311"/>
                  <a:gd name="connsiteX7" fmla="*/ 1104900 w 1466850"/>
                  <a:gd name="connsiteY7" fmla="*/ 151611 h 799311"/>
                  <a:gd name="connsiteX8" fmla="*/ 1143000 w 1466850"/>
                  <a:gd name="connsiteY8" fmla="*/ 484986 h 799311"/>
                  <a:gd name="connsiteX9" fmla="*/ 1400175 w 1466850"/>
                  <a:gd name="connsiteY9" fmla="*/ 8736 h 799311"/>
                  <a:gd name="connsiteX10" fmla="*/ 1466850 w 1466850"/>
                  <a:gd name="connsiteY10" fmla="*/ 180186 h 799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66850" h="799311">
                    <a:moveTo>
                      <a:pt x="0" y="799311"/>
                    </a:moveTo>
                    <a:cubicBezTo>
                      <a:pt x="51594" y="466729"/>
                      <a:pt x="103188" y="134148"/>
                      <a:pt x="152400" y="84936"/>
                    </a:cubicBezTo>
                    <a:cubicBezTo>
                      <a:pt x="201612" y="35724"/>
                      <a:pt x="233363" y="457999"/>
                      <a:pt x="295275" y="504036"/>
                    </a:cubicBezTo>
                    <a:cubicBezTo>
                      <a:pt x="357187" y="550073"/>
                      <a:pt x="461962" y="364336"/>
                      <a:pt x="523875" y="361161"/>
                    </a:cubicBezTo>
                    <a:cubicBezTo>
                      <a:pt x="585788" y="357986"/>
                      <a:pt x="600075" y="500861"/>
                      <a:pt x="666750" y="484986"/>
                    </a:cubicBezTo>
                    <a:cubicBezTo>
                      <a:pt x="733425" y="469111"/>
                      <a:pt x="876300" y="224636"/>
                      <a:pt x="923925" y="265911"/>
                    </a:cubicBezTo>
                    <a:cubicBezTo>
                      <a:pt x="971550" y="307186"/>
                      <a:pt x="922338" y="751686"/>
                      <a:pt x="952500" y="732636"/>
                    </a:cubicBezTo>
                    <a:cubicBezTo>
                      <a:pt x="982663" y="713586"/>
                      <a:pt x="1073150" y="192886"/>
                      <a:pt x="1104900" y="151611"/>
                    </a:cubicBezTo>
                    <a:cubicBezTo>
                      <a:pt x="1136650" y="110336"/>
                      <a:pt x="1093788" y="508798"/>
                      <a:pt x="1143000" y="484986"/>
                    </a:cubicBezTo>
                    <a:cubicBezTo>
                      <a:pt x="1192213" y="461173"/>
                      <a:pt x="1346200" y="59536"/>
                      <a:pt x="1400175" y="8736"/>
                    </a:cubicBezTo>
                    <a:cubicBezTo>
                      <a:pt x="1454150" y="-42064"/>
                      <a:pt x="1446213" y="143673"/>
                      <a:pt x="1466850" y="180186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BC52DEB4-BAF0-48A5-8009-BDE96FEB60CB}"/>
                  </a:ext>
                </a:extLst>
              </p:cNvPr>
              <p:cNvSpPr/>
              <p:nvPr/>
            </p:nvSpPr>
            <p:spPr>
              <a:xfrm>
                <a:off x="4123632" y="4942352"/>
                <a:ext cx="1400868" cy="622280"/>
              </a:xfrm>
              <a:custGeom>
                <a:avLst/>
                <a:gdLst>
                  <a:gd name="connsiteX0" fmla="*/ 693 w 1400868"/>
                  <a:gd name="connsiteY0" fmla="*/ 448798 h 622280"/>
                  <a:gd name="connsiteX1" fmla="*/ 29268 w 1400868"/>
                  <a:gd name="connsiteY1" fmla="*/ 239248 h 622280"/>
                  <a:gd name="connsiteX2" fmla="*/ 191193 w 1400868"/>
                  <a:gd name="connsiteY2" fmla="*/ 305923 h 622280"/>
                  <a:gd name="connsiteX3" fmla="*/ 362643 w 1400868"/>
                  <a:gd name="connsiteY3" fmla="*/ 296398 h 622280"/>
                  <a:gd name="connsiteX4" fmla="*/ 419793 w 1400868"/>
                  <a:gd name="connsiteY4" fmla="*/ 610723 h 622280"/>
                  <a:gd name="connsiteX5" fmla="*/ 600768 w 1400868"/>
                  <a:gd name="connsiteY5" fmla="*/ 191623 h 622280"/>
                  <a:gd name="connsiteX6" fmla="*/ 810318 w 1400868"/>
                  <a:gd name="connsiteY6" fmla="*/ 296398 h 622280"/>
                  <a:gd name="connsiteX7" fmla="*/ 1010343 w 1400868"/>
                  <a:gd name="connsiteY7" fmla="*/ 620248 h 622280"/>
                  <a:gd name="connsiteX8" fmla="*/ 1048443 w 1400868"/>
                  <a:gd name="connsiteY8" fmla="*/ 124948 h 622280"/>
                  <a:gd name="connsiteX9" fmla="*/ 1181793 w 1400868"/>
                  <a:gd name="connsiteY9" fmla="*/ 563098 h 622280"/>
                  <a:gd name="connsiteX10" fmla="*/ 1257993 w 1400868"/>
                  <a:gd name="connsiteY10" fmla="*/ 267823 h 622280"/>
                  <a:gd name="connsiteX11" fmla="*/ 1324668 w 1400868"/>
                  <a:gd name="connsiteY11" fmla="*/ 1123 h 622280"/>
                  <a:gd name="connsiteX12" fmla="*/ 1400868 w 1400868"/>
                  <a:gd name="connsiteY12" fmla="*/ 372598 h 622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00868" h="622280">
                    <a:moveTo>
                      <a:pt x="693" y="448798"/>
                    </a:moveTo>
                    <a:cubicBezTo>
                      <a:pt x="-895" y="355929"/>
                      <a:pt x="-2482" y="263060"/>
                      <a:pt x="29268" y="239248"/>
                    </a:cubicBezTo>
                    <a:cubicBezTo>
                      <a:pt x="61018" y="215436"/>
                      <a:pt x="135631" y="296398"/>
                      <a:pt x="191193" y="305923"/>
                    </a:cubicBezTo>
                    <a:cubicBezTo>
                      <a:pt x="246755" y="315448"/>
                      <a:pt x="324543" y="245598"/>
                      <a:pt x="362643" y="296398"/>
                    </a:cubicBezTo>
                    <a:cubicBezTo>
                      <a:pt x="400743" y="347198"/>
                      <a:pt x="380106" y="628186"/>
                      <a:pt x="419793" y="610723"/>
                    </a:cubicBezTo>
                    <a:cubicBezTo>
                      <a:pt x="459481" y="593261"/>
                      <a:pt x="535680" y="244011"/>
                      <a:pt x="600768" y="191623"/>
                    </a:cubicBezTo>
                    <a:cubicBezTo>
                      <a:pt x="665856" y="139235"/>
                      <a:pt x="742056" y="224960"/>
                      <a:pt x="810318" y="296398"/>
                    </a:cubicBezTo>
                    <a:cubicBezTo>
                      <a:pt x="878581" y="367835"/>
                      <a:pt x="970656" y="648823"/>
                      <a:pt x="1010343" y="620248"/>
                    </a:cubicBezTo>
                    <a:cubicBezTo>
                      <a:pt x="1050031" y="591673"/>
                      <a:pt x="1019868" y="134473"/>
                      <a:pt x="1048443" y="124948"/>
                    </a:cubicBezTo>
                    <a:cubicBezTo>
                      <a:pt x="1077018" y="115423"/>
                      <a:pt x="1146868" y="539286"/>
                      <a:pt x="1181793" y="563098"/>
                    </a:cubicBezTo>
                    <a:cubicBezTo>
                      <a:pt x="1216718" y="586910"/>
                      <a:pt x="1234181" y="361485"/>
                      <a:pt x="1257993" y="267823"/>
                    </a:cubicBezTo>
                    <a:cubicBezTo>
                      <a:pt x="1281805" y="174161"/>
                      <a:pt x="1300856" y="-16339"/>
                      <a:pt x="1324668" y="1123"/>
                    </a:cubicBezTo>
                    <a:cubicBezTo>
                      <a:pt x="1348480" y="18585"/>
                      <a:pt x="1374674" y="195591"/>
                      <a:pt x="1400868" y="372598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25EA20B0-B25A-4AE3-9B8F-FD7A5FF4EE7D}"/>
                  </a:ext>
                </a:extLst>
              </p:cNvPr>
              <p:cNvSpPr/>
              <p:nvPr/>
            </p:nvSpPr>
            <p:spPr>
              <a:xfrm>
                <a:off x="4036136" y="4685312"/>
                <a:ext cx="1400868" cy="622280"/>
              </a:xfrm>
              <a:custGeom>
                <a:avLst/>
                <a:gdLst>
                  <a:gd name="connsiteX0" fmla="*/ 693 w 1400868"/>
                  <a:gd name="connsiteY0" fmla="*/ 448798 h 622280"/>
                  <a:gd name="connsiteX1" fmla="*/ 29268 w 1400868"/>
                  <a:gd name="connsiteY1" fmla="*/ 239248 h 622280"/>
                  <a:gd name="connsiteX2" fmla="*/ 191193 w 1400868"/>
                  <a:gd name="connsiteY2" fmla="*/ 305923 h 622280"/>
                  <a:gd name="connsiteX3" fmla="*/ 362643 w 1400868"/>
                  <a:gd name="connsiteY3" fmla="*/ 296398 h 622280"/>
                  <a:gd name="connsiteX4" fmla="*/ 419793 w 1400868"/>
                  <a:gd name="connsiteY4" fmla="*/ 610723 h 622280"/>
                  <a:gd name="connsiteX5" fmla="*/ 600768 w 1400868"/>
                  <a:gd name="connsiteY5" fmla="*/ 191623 h 622280"/>
                  <a:gd name="connsiteX6" fmla="*/ 810318 w 1400868"/>
                  <a:gd name="connsiteY6" fmla="*/ 296398 h 622280"/>
                  <a:gd name="connsiteX7" fmla="*/ 1010343 w 1400868"/>
                  <a:gd name="connsiteY7" fmla="*/ 620248 h 622280"/>
                  <a:gd name="connsiteX8" fmla="*/ 1048443 w 1400868"/>
                  <a:gd name="connsiteY8" fmla="*/ 124948 h 622280"/>
                  <a:gd name="connsiteX9" fmla="*/ 1181793 w 1400868"/>
                  <a:gd name="connsiteY9" fmla="*/ 563098 h 622280"/>
                  <a:gd name="connsiteX10" fmla="*/ 1257993 w 1400868"/>
                  <a:gd name="connsiteY10" fmla="*/ 267823 h 622280"/>
                  <a:gd name="connsiteX11" fmla="*/ 1324668 w 1400868"/>
                  <a:gd name="connsiteY11" fmla="*/ 1123 h 622280"/>
                  <a:gd name="connsiteX12" fmla="*/ 1400868 w 1400868"/>
                  <a:gd name="connsiteY12" fmla="*/ 372598 h 622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00868" h="622280">
                    <a:moveTo>
                      <a:pt x="693" y="448798"/>
                    </a:moveTo>
                    <a:cubicBezTo>
                      <a:pt x="-895" y="355929"/>
                      <a:pt x="-2482" y="263060"/>
                      <a:pt x="29268" y="239248"/>
                    </a:cubicBezTo>
                    <a:cubicBezTo>
                      <a:pt x="61018" y="215436"/>
                      <a:pt x="135631" y="296398"/>
                      <a:pt x="191193" y="305923"/>
                    </a:cubicBezTo>
                    <a:cubicBezTo>
                      <a:pt x="246755" y="315448"/>
                      <a:pt x="324543" y="245598"/>
                      <a:pt x="362643" y="296398"/>
                    </a:cubicBezTo>
                    <a:cubicBezTo>
                      <a:pt x="400743" y="347198"/>
                      <a:pt x="380106" y="628186"/>
                      <a:pt x="419793" y="610723"/>
                    </a:cubicBezTo>
                    <a:cubicBezTo>
                      <a:pt x="459481" y="593261"/>
                      <a:pt x="535680" y="244011"/>
                      <a:pt x="600768" y="191623"/>
                    </a:cubicBezTo>
                    <a:cubicBezTo>
                      <a:pt x="665856" y="139235"/>
                      <a:pt x="742056" y="224960"/>
                      <a:pt x="810318" y="296398"/>
                    </a:cubicBezTo>
                    <a:cubicBezTo>
                      <a:pt x="878581" y="367835"/>
                      <a:pt x="970656" y="648823"/>
                      <a:pt x="1010343" y="620248"/>
                    </a:cubicBezTo>
                    <a:cubicBezTo>
                      <a:pt x="1050031" y="591673"/>
                      <a:pt x="1019868" y="134473"/>
                      <a:pt x="1048443" y="124948"/>
                    </a:cubicBezTo>
                    <a:cubicBezTo>
                      <a:pt x="1077018" y="115423"/>
                      <a:pt x="1146868" y="539286"/>
                      <a:pt x="1181793" y="563098"/>
                    </a:cubicBezTo>
                    <a:cubicBezTo>
                      <a:pt x="1216718" y="586910"/>
                      <a:pt x="1234181" y="361485"/>
                      <a:pt x="1257993" y="267823"/>
                    </a:cubicBezTo>
                    <a:cubicBezTo>
                      <a:pt x="1281805" y="174161"/>
                      <a:pt x="1300856" y="-16339"/>
                      <a:pt x="1324668" y="1123"/>
                    </a:cubicBezTo>
                    <a:cubicBezTo>
                      <a:pt x="1348480" y="18585"/>
                      <a:pt x="1374674" y="195591"/>
                      <a:pt x="1400868" y="372598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D13A001-9286-43C8-AA79-B201A97EF95A}"/>
              </a:ext>
            </a:extLst>
          </p:cNvPr>
          <p:cNvGrpSpPr/>
          <p:nvPr/>
        </p:nvGrpSpPr>
        <p:grpSpPr>
          <a:xfrm>
            <a:off x="4502045" y="2108655"/>
            <a:ext cx="3484800" cy="2520000"/>
            <a:chOff x="4494457" y="2994698"/>
            <a:chExt cx="2880000" cy="2535995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769EDDEB-9A52-490C-A7FB-005B6AB4DEF9}"/>
                </a:ext>
              </a:extLst>
            </p:cNvPr>
            <p:cNvSpPr/>
            <p:nvPr/>
          </p:nvSpPr>
          <p:spPr>
            <a:xfrm>
              <a:off x="4494457" y="2994698"/>
              <a:ext cx="2880000" cy="253599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457A9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chno-</a:t>
              </a:r>
              <a:r>
                <a:rPr lang="en-US" sz="20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ökonomische</a:t>
              </a:r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0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mierung</a:t>
              </a:r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s </a:t>
              </a:r>
              <a:r>
                <a:rPr lang="en-US" sz="20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ektrolyseurbetriebs</a:t>
              </a:r>
              <a:endPara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0C580888-61D1-450F-A157-A1960AE2E98D}"/>
                </a:ext>
              </a:extLst>
            </p:cNvPr>
            <p:cNvGrpSpPr/>
            <p:nvPr/>
          </p:nvGrpSpPr>
          <p:grpSpPr>
            <a:xfrm>
              <a:off x="5030004" y="4038243"/>
              <a:ext cx="1742100" cy="1106254"/>
              <a:chOff x="6862925" y="4565040"/>
              <a:chExt cx="1742100" cy="1106254"/>
            </a:xfrm>
          </p:grpSpPr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77FD29BB-6E3C-4ABC-BB12-7E21083EFE68}"/>
                  </a:ext>
                </a:extLst>
              </p:cNvPr>
              <p:cNvGrpSpPr/>
              <p:nvPr/>
            </p:nvGrpSpPr>
            <p:grpSpPr>
              <a:xfrm>
                <a:off x="6862925" y="4565040"/>
                <a:ext cx="1742100" cy="1106254"/>
                <a:chOff x="1063583" y="4635500"/>
                <a:chExt cx="1742100" cy="1106254"/>
              </a:xfrm>
            </p:grpSpPr>
            <p:cxnSp>
              <p:nvCxnSpPr>
                <p:cNvPr id="68" name="Gerade Verbindung mit Pfeil 67">
                  <a:extLst>
                    <a:ext uri="{FF2B5EF4-FFF2-40B4-BE49-F238E27FC236}">
                      <a16:creationId xmlns:a16="http://schemas.microsoft.com/office/drawing/2014/main" id="{96F50AC0-FEDC-4A88-B54E-4F9BFFB490A2}"/>
                    </a:ext>
                  </a:extLst>
                </p:cNvPr>
                <p:cNvCxnSpPr/>
                <p:nvPr/>
              </p:nvCxnSpPr>
              <p:spPr>
                <a:xfrm>
                  <a:off x="1063583" y="5741754"/>
                  <a:ext cx="1742100" cy="0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Gerade Verbindung mit Pfeil 68">
                  <a:extLst>
                    <a:ext uri="{FF2B5EF4-FFF2-40B4-BE49-F238E27FC236}">
                      <a16:creationId xmlns:a16="http://schemas.microsoft.com/office/drawing/2014/main" id="{6FC31A61-2CB7-4A09-936E-21BFED01B0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74002" y="4635500"/>
                  <a:ext cx="0" cy="1104900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1" name="Gerader Verbinder 70">
                <a:extLst>
                  <a:ext uri="{FF2B5EF4-FFF2-40B4-BE49-F238E27FC236}">
                    <a16:creationId xmlns:a16="http://schemas.microsoft.com/office/drawing/2014/main" id="{92FC366F-996C-4B9B-B927-A7965D6B41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73344" y="5297044"/>
                <a:ext cx="413281" cy="0"/>
              </a:xfrm>
              <a:prstGeom prst="line">
                <a:avLst/>
              </a:prstGeom>
              <a:ln w="28575">
                <a:solidFill>
                  <a:srgbClr val="457A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r Verbinder 72">
                <a:extLst>
                  <a:ext uri="{FF2B5EF4-FFF2-40B4-BE49-F238E27FC236}">
                    <a16:creationId xmlns:a16="http://schemas.microsoft.com/office/drawing/2014/main" id="{54F6CDA7-2C25-48BD-B349-8BEA19E2B76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86625" y="5056835"/>
                <a:ext cx="0" cy="250757"/>
              </a:xfrm>
              <a:prstGeom prst="line">
                <a:avLst/>
              </a:prstGeom>
              <a:ln w="28575">
                <a:solidFill>
                  <a:srgbClr val="457A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r Verbinder 74">
                <a:extLst>
                  <a:ext uri="{FF2B5EF4-FFF2-40B4-BE49-F238E27FC236}">
                    <a16:creationId xmlns:a16="http://schemas.microsoft.com/office/drawing/2014/main" id="{4A489F8C-2E32-43EA-BFCC-2C7F0AB753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85257" y="5059615"/>
                <a:ext cx="413281" cy="0"/>
              </a:xfrm>
              <a:prstGeom prst="line">
                <a:avLst/>
              </a:prstGeom>
              <a:ln w="28575">
                <a:solidFill>
                  <a:srgbClr val="457A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A6AC5BE4-E46C-410A-BBA2-C97E9A911E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58246" y="5059615"/>
                <a:ext cx="454609" cy="0"/>
              </a:xfrm>
              <a:prstGeom prst="line">
                <a:avLst/>
              </a:prstGeom>
              <a:ln w="28575">
                <a:solidFill>
                  <a:srgbClr val="457A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4B97FE2B-A4FA-472F-B7AF-10030A478B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02294" y="5055354"/>
                <a:ext cx="0" cy="250757"/>
              </a:xfrm>
              <a:prstGeom prst="line">
                <a:avLst/>
              </a:prstGeom>
              <a:ln w="28575">
                <a:solidFill>
                  <a:srgbClr val="457A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A785CC8D-E83B-49D1-A53A-9E8CB2CF23A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02294" y="5285590"/>
                <a:ext cx="0" cy="250757"/>
              </a:xfrm>
              <a:prstGeom prst="line">
                <a:avLst/>
              </a:prstGeom>
              <a:ln w="28575">
                <a:solidFill>
                  <a:srgbClr val="457A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r Verbinder 78">
                <a:extLst>
                  <a:ext uri="{FF2B5EF4-FFF2-40B4-BE49-F238E27FC236}">
                    <a16:creationId xmlns:a16="http://schemas.microsoft.com/office/drawing/2014/main" id="{8A12D1B2-4F51-4A2D-865F-DD8A8DC086E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02294" y="5389819"/>
                <a:ext cx="0" cy="250757"/>
              </a:xfrm>
              <a:prstGeom prst="line">
                <a:avLst/>
              </a:prstGeom>
              <a:ln w="28575">
                <a:solidFill>
                  <a:srgbClr val="457A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04B781F0-6AFE-472C-8E4A-B22AD59004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97328" y="5640576"/>
                <a:ext cx="371176" cy="0"/>
              </a:xfrm>
              <a:prstGeom prst="line">
                <a:avLst/>
              </a:prstGeom>
              <a:ln w="28575">
                <a:solidFill>
                  <a:srgbClr val="457A9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BE45FBA-6803-41E0-AC76-A8B7F34B02A3}"/>
              </a:ext>
            </a:extLst>
          </p:cNvPr>
          <p:cNvGrpSpPr/>
          <p:nvPr/>
        </p:nvGrpSpPr>
        <p:grpSpPr>
          <a:xfrm>
            <a:off x="9077646" y="2108655"/>
            <a:ext cx="2160000" cy="2520000"/>
            <a:chOff x="8730380" y="2994698"/>
            <a:chExt cx="2160000" cy="252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F23EE5BE-6654-4DD5-AD3D-C1781E68216C}"/>
                </a:ext>
              </a:extLst>
            </p:cNvPr>
            <p:cNvSpPr/>
            <p:nvPr/>
          </p:nvSpPr>
          <p:spPr>
            <a:xfrm>
              <a:off x="8730380" y="2994698"/>
              <a:ext cx="2160000" cy="252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457A9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fit-</a:t>
              </a:r>
              <a:r>
                <a:rPr lang="en-US" sz="2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rteilungen</a:t>
              </a:r>
              <a:endPara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72AB578D-667C-49D4-849A-64D62FFF3ECE}"/>
                </a:ext>
              </a:extLst>
            </p:cNvPr>
            <p:cNvGrpSpPr/>
            <p:nvPr/>
          </p:nvGrpSpPr>
          <p:grpSpPr>
            <a:xfrm>
              <a:off x="8981259" y="4007525"/>
              <a:ext cx="1742100" cy="1106254"/>
              <a:chOff x="9488623" y="4565040"/>
              <a:chExt cx="1742100" cy="1106254"/>
            </a:xfrm>
          </p:grpSpPr>
          <p:grpSp>
            <p:nvGrpSpPr>
              <p:cNvPr id="41" name="Gruppieren 40">
                <a:extLst>
                  <a:ext uri="{FF2B5EF4-FFF2-40B4-BE49-F238E27FC236}">
                    <a16:creationId xmlns:a16="http://schemas.microsoft.com/office/drawing/2014/main" id="{EA4DA14E-BFD6-455B-B3CF-9377E343E948}"/>
                  </a:ext>
                </a:extLst>
              </p:cNvPr>
              <p:cNvGrpSpPr/>
              <p:nvPr/>
            </p:nvGrpSpPr>
            <p:grpSpPr>
              <a:xfrm>
                <a:off x="9488623" y="4565040"/>
                <a:ext cx="1742100" cy="1106254"/>
                <a:chOff x="1056246" y="4635500"/>
                <a:chExt cx="1742100" cy="1106254"/>
              </a:xfrm>
            </p:grpSpPr>
            <p:cxnSp>
              <p:nvCxnSpPr>
                <p:cNvPr id="42" name="Gerade Verbindung mit Pfeil 41">
                  <a:extLst>
                    <a:ext uri="{FF2B5EF4-FFF2-40B4-BE49-F238E27FC236}">
                      <a16:creationId xmlns:a16="http://schemas.microsoft.com/office/drawing/2014/main" id="{97174AD8-1206-4796-A17A-58C14A7E59C9}"/>
                    </a:ext>
                  </a:extLst>
                </p:cNvPr>
                <p:cNvCxnSpPr/>
                <p:nvPr/>
              </p:nvCxnSpPr>
              <p:spPr>
                <a:xfrm>
                  <a:off x="1056246" y="5741754"/>
                  <a:ext cx="1742100" cy="0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Gerade Verbindung mit Pfeil 42">
                  <a:extLst>
                    <a:ext uri="{FF2B5EF4-FFF2-40B4-BE49-F238E27FC236}">
                      <a16:creationId xmlns:a16="http://schemas.microsoft.com/office/drawing/2014/main" id="{A473D4AE-E1B8-47D9-806A-41B4280A6F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74002" y="4635500"/>
                  <a:ext cx="0" cy="1104900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D49CB796-FC64-4444-9C1A-72B2902AC546}"/>
                  </a:ext>
                </a:extLst>
              </p:cNvPr>
              <p:cNvSpPr/>
              <p:nvPr/>
            </p:nvSpPr>
            <p:spPr>
              <a:xfrm>
                <a:off x="10102605" y="5038707"/>
                <a:ext cx="109930" cy="618338"/>
              </a:xfrm>
              <a:prstGeom prst="rect">
                <a:avLst/>
              </a:prstGeom>
              <a:solidFill>
                <a:srgbClr val="457A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80F01BD2-41C0-4396-9FD2-4DCD9A0B02B0}"/>
                  </a:ext>
                </a:extLst>
              </p:cNvPr>
              <p:cNvSpPr/>
              <p:nvPr/>
            </p:nvSpPr>
            <p:spPr>
              <a:xfrm>
                <a:off x="10221577" y="4937045"/>
                <a:ext cx="109930" cy="720000"/>
              </a:xfrm>
              <a:prstGeom prst="rect">
                <a:avLst/>
              </a:prstGeom>
              <a:solidFill>
                <a:srgbClr val="457A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C457BDF1-7246-44FA-B0FA-BD37F000C692}"/>
                  </a:ext>
                </a:extLst>
              </p:cNvPr>
              <p:cNvSpPr/>
              <p:nvPr/>
            </p:nvSpPr>
            <p:spPr>
              <a:xfrm>
                <a:off x="10340549" y="5009044"/>
                <a:ext cx="109930" cy="648000"/>
              </a:xfrm>
              <a:prstGeom prst="rect">
                <a:avLst/>
              </a:prstGeom>
              <a:solidFill>
                <a:srgbClr val="457A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18223212-2953-4A2D-9DA7-5A8C98421AAE}"/>
                  </a:ext>
                </a:extLst>
              </p:cNvPr>
              <p:cNvSpPr/>
              <p:nvPr/>
            </p:nvSpPr>
            <p:spPr>
              <a:xfrm>
                <a:off x="9971758" y="5297044"/>
                <a:ext cx="109930" cy="360000"/>
              </a:xfrm>
              <a:prstGeom prst="rect">
                <a:avLst/>
              </a:prstGeom>
              <a:solidFill>
                <a:srgbClr val="457A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7A40C07F-392A-495C-A97C-E9A3F9B15A6C}"/>
                  </a:ext>
                </a:extLst>
              </p:cNvPr>
              <p:cNvSpPr/>
              <p:nvPr/>
            </p:nvSpPr>
            <p:spPr>
              <a:xfrm>
                <a:off x="10459521" y="5225044"/>
                <a:ext cx="109930" cy="432000"/>
              </a:xfrm>
              <a:prstGeom prst="rect">
                <a:avLst/>
              </a:prstGeom>
              <a:solidFill>
                <a:srgbClr val="457A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F8B6BF12-6FE5-400B-96B0-B872429C8D55}"/>
                  </a:ext>
                </a:extLst>
              </p:cNvPr>
              <p:cNvSpPr/>
              <p:nvPr/>
            </p:nvSpPr>
            <p:spPr>
              <a:xfrm>
                <a:off x="10578491" y="5297044"/>
                <a:ext cx="109930" cy="360000"/>
              </a:xfrm>
              <a:prstGeom prst="rect">
                <a:avLst/>
              </a:prstGeom>
              <a:solidFill>
                <a:srgbClr val="457A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BDAE1C8F-237F-4B59-9A94-0E77BB67E652}"/>
                  </a:ext>
                </a:extLst>
              </p:cNvPr>
              <p:cNvSpPr/>
              <p:nvPr/>
            </p:nvSpPr>
            <p:spPr>
              <a:xfrm>
                <a:off x="9847933" y="5477044"/>
                <a:ext cx="109930" cy="180000"/>
              </a:xfrm>
              <a:prstGeom prst="rect">
                <a:avLst/>
              </a:prstGeom>
              <a:solidFill>
                <a:srgbClr val="457A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4" name="Gleichschenkliges Dreieck 73">
            <a:extLst>
              <a:ext uri="{FF2B5EF4-FFF2-40B4-BE49-F238E27FC236}">
                <a16:creationId xmlns:a16="http://schemas.microsoft.com/office/drawing/2014/main" id="{39E4BE94-AA65-4542-B418-0EA1CFBF4072}"/>
              </a:ext>
            </a:extLst>
          </p:cNvPr>
          <p:cNvSpPr/>
          <p:nvPr/>
        </p:nvSpPr>
        <p:spPr>
          <a:xfrm rot="5400000">
            <a:off x="6767940" y="3077779"/>
            <a:ext cx="3528612" cy="581756"/>
          </a:xfrm>
          <a:prstGeom prst="triangle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FBB7E1A-5718-4E37-8C5D-FBF06AE7AD47}"/>
              </a:ext>
            </a:extLst>
          </p:cNvPr>
          <p:cNvSpPr txBox="1"/>
          <p:nvPr/>
        </p:nvSpPr>
        <p:spPr>
          <a:xfrm>
            <a:off x="1923749" y="3118405"/>
            <a:ext cx="3946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b="1">
                <a:solidFill>
                  <a:srgbClr val="447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de-DE" b="1">
              <a:solidFill>
                <a:srgbClr val="447A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249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74" grpId="0" animBg="1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58A79E40-CA0B-45C3-8AD7-64219F27B5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772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58A79E40-CA0B-45C3-8AD7-64219F27B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wer-to-Gas </a:t>
            </a:r>
            <a:r>
              <a:rPr lang="en-US" dirty="0" err="1"/>
              <a:t>Einsatzmodell</a:t>
            </a:r>
            <a:endParaRPr lang="en-US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7F47E9C-5469-4091-8473-4FC1D0D076F0}"/>
              </a:ext>
            </a:extLst>
          </p:cNvPr>
          <p:cNvGrpSpPr/>
          <p:nvPr/>
        </p:nvGrpSpPr>
        <p:grpSpPr>
          <a:xfrm>
            <a:off x="7789487" y="1599353"/>
            <a:ext cx="3929745" cy="3635212"/>
            <a:chOff x="8409972" y="1616162"/>
            <a:chExt cx="3929745" cy="3635212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D0BCB64E-FA33-44C3-85EF-E966AC0AE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67472" y="1616162"/>
              <a:ext cx="777689" cy="752067"/>
            </a:xfrm>
            <a:prstGeom prst="rect">
              <a:avLst/>
            </a:prstGeom>
            <a:effectLst/>
          </p:spPr>
        </p:pic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DE4E4A17-FCE2-48C4-A3E4-08CD3D80960F}"/>
                </a:ext>
              </a:extLst>
            </p:cNvPr>
            <p:cNvGrpSpPr/>
            <p:nvPr/>
          </p:nvGrpSpPr>
          <p:grpSpPr>
            <a:xfrm>
              <a:off x="9719280" y="4132807"/>
              <a:ext cx="874073" cy="1118567"/>
              <a:chOff x="4344880" y="2989840"/>
              <a:chExt cx="469296" cy="621028"/>
            </a:xfrm>
          </p:grpSpPr>
          <p:pic>
            <p:nvPicPr>
              <p:cNvPr id="47" name="Grafik 46">
                <a:extLst>
                  <a:ext uri="{FF2B5EF4-FFF2-40B4-BE49-F238E27FC236}">
                    <a16:creationId xmlns:a16="http://schemas.microsoft.com/office/drawing/2014/main" id="{5831C486-E6B8-49C7-AB1A-8B0A851C9A4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994" r="32933"/>
              <a:stretch/>
            </p:blipFill>
            <p:spPr>
              <a:xfrm flipH="1">
                <a:off x="4643031" y="3299281"/>
                <a:ext cx="171145" cy="308526"/>
              </a:xfrm>
              <a:prstGeom prst="rect">
                <a:avLst/>
              </a:prstGeom>
            </p:spPr>
          </p:pic>
          <p:pic>
            <p:nvPicPr>
              <p:cNvPr id="48" name="Grafik 47">
                <a:extLst>
                  <a:ext uri="{FF2B5EF4-FFF2-40B4-BE49-F238E27FC236}">
                    <a16:creationId xmlns:a16="http://schemas.microsoft.com/office/drawing/2014/main" id="{3A8799DB-5336-4C10-B246-12824662846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714" r="35418"/>
              <a:stretch/>
            </p:blipFill>
            <p:spPr>
              <a:xfrm flipH="1">
                <a:off x="4344880" y="3302342"/>
                <a:ext cx="159735" cy="308526"/>
              </a:xfrm>
              <a:prstGeom prst="rect">
                <a:avLst/>
              </a:prstGeom>
            </p:spPr>
          </p:pic>
          <p:cxnSp>
            <p:nvCxnSpPr>
              <p:cNvPr id="49" name="Gewinkelte Verbindung 80">
                <a:extLst>
                  <a:ext uri="{FF2B5EF4-FFF2-40B4-BE49-F238E27FC236}">
                    <a16:creationId xmlns:a16="http://schemas.microsoft.com/office/drawing/2014/main" id="{5372F93F-5558-4027-B4ED-42D7CB64B4FD}"/>
                  </a:ext>
                </a:extLst>
              </p:cNvPr>
              <p:cNvCxnSpPr>
                <a:stCxn id="48" idx="0"/>
                <a:endCxn id="47" idx="0"/>
              </p:cNvCxnSpPr>
              <p:nvPr/>
            </p:nvCxnSpPr>
            <p:spPr>
              <a:xfrm rot="5400000" flipH="1" flipV="1">
                <a:off x="4575145" y="3148884"/>
                <a:ext cx="3061" cy="303855"/>
              </a:xfrm>
              <a:prstGeom prst="bentConnector3">
                <a:avLst>
                  <a:gd name="adj1" fmla="val 2100117"/>
                </a:avLst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FDF8905D-925B-46D6-AE1F-66FD20FFE3AE}"/>
                  </a:ext>
                </a:extLst>
              </p:cNvPr>
              <p:cNvSpPr txBox="1"/>
              <p:nvPr/>
            </p:nvSpPr>
            <p:spPr>
              <a:xfrm>
                <a:off x="4380167" y="2989840"/>
                <a:ext cx="89160" cy="153790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/>
              <a:p>
                <a:pPr algn="ctr"/>
                <a:r>
                  <a:rPr lang="en-US" b="1">
                    <a:latin typeface="Trebuchet MS" panose="020B0603020202020204" pitchFamily="34" charset="0"/>
                    <a:cs typeface="Arial"/>
                  </a:rPr>
                  <a:t>+</a:t>
                </a:r>
                <a:endParaRPr lang="en-US" sz="2400" b="1" baseline="-25000">
                  <a:latin typeface="Trebuchet MS" panose="020B0603020202020204" pitchFamily="34" charset="0"/>
                  <a:cs typeface="Arial"/>
                </a:endParaRPr>
              </a:p>
            </p:txBody>
          </p:sp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F32A7A51-565A-4135-9694-613B26EF639D}"/>
                  </a:ext>
                </a:extLst>
              </p:cNvPr>
              <p:cNvSpPr txBox="1"/>
              <p:nvPr/>
            </p:nvSpPr>
            <p:spPr>
              <a:xfrm>
                <a:off x="4665881" y="2989841"/>
                <a:ext cx="130153" cy="153790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/>
              <a:p>
                <a:pPr algn="ctr"/>
                <a:r>
                  <a:rPr lang="en-US" b="1">
                    <a:latin typeface="Trebuchet MS" panose="020B0603020202020204" pitchFamily="34" charset="0"/>
                    <a:cs typeface="Arial"/>
                  </a:rPr>
                  <a:t>-</a:t>
                </a:r>
                <a:endParaRPr lang="en-US" sz="2400" b="1" baseline="-25000">
                  <a:latin typeface="Trebuchet MS" panose="020B0603020202020204" pitchFamily="34" charset="0"/>
                  <a:cs typeface="Arial"/>
                </a:endParaRPr>
              </a:p>
            </p:txBody>
          </p:sp>
        </p:grpSp>
        <p:pic>
          <p:nvPicPr>
            <p:cNvPr id="64" name="Grafik 63" descr="Strommast mit einfarbiger Füllung">
              <a:extLst>
                <a:ext uri="{FF2B5EF4-FFF2-40B4-BE49-F238E27FC236}">
                  <a16:creationId xmlns:a16="http://schemas.microsoft.com/office/drawing/2014/main" id="{234AC853-94E5-455D-A0CD-D22E49A87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409972" y="3007213"/>
              <a:ext cx="715630" cy="715630"/>
            </a:xfrm>
            <a:prstGeom prst="rect">
              <a:avLst/>
            </a:prstGeom>
          </p:spPr>
        </p:pic>
        <p:pic>
          <p:nvPicPr>
            <p:cNvPr id="65" name="Grafik 64" descr="Angebot und Nachfrage mit einfarbiger Füllung">
              <a:extLst>
                <a:ext uri="{FF2B5EF4-FFF2-40B4-BE49-F238E27FC236}">
                  <a16:creationId xmlns:a16="http://schemas.microsoft.com/office/drawing/2014/main" id="{9C32B027-CB1A-4577-91E0-C14096C46D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1325372" y="2997679"/>
              <a:ext cx="734699" cy="734699"/>
            </a:xfrm>
            <a:prstGeom prst="rect">
              <a:avLst/>
            </a:prstGeom>
          </p:spPr>
        </p:pic>
        <p:cxnSp>
          <p:nvCxnSpPr>
            <p:cNvPr id="82" name="Verbinder: gekrümmt 81">
              <a:extLst>
                <a:ext uri="{FF2B5EF4-FFF2-40B4-BE49-F238E27FC236}">
                  <a16:creationId xmlns:a16="http://schemas.microsoft.com/office/drawing/2014/main" id="{DBA4284E-E515-4F4E-A00C-1AC024FEF78C}"/>
                </a:ext>
              </a:extLst>
            </p:cNvPr>
            <p:cNvCxnSpPr>
              <a:stCxn id="44" idx="1"/>
              <a:endCxn id="64" idx="0"/>
            </p:cNvCxnSpPr>
            <p:nvPr/>
          </p:nvCxnSpPr>
          <p:spPr>
            <a:xfrm rot="10800000" flipV="1">
              <a:off x="8767788" y="1992195"/>
              <a:ext cx="999685" cy="1015017"/>
            </a:xfrm>
            <a:prstGeom prst="curvedConnector2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Verbinder: gekrümmt 83">
              <a:extLst>
                <a:ext uri="{FF2B5EF4-FFF2-40B4-BE49-F238E27FC236}">
                  <a16:creationId xmlns:a16="http://schemas.microsoft.com/office/drawing/2014/main" id="{A962E916-BCE7-405F-A50C-EFA5D4878D3E}"/>
                </a:ext>
              </a:extLst>
            </p:cNvPr>
            <p:cNvCxnSpPr>
              <a:stCxn id="64" idx="2"/>
              <a:endCxn id="48" idx="3"/>
            </p:cNvCxnSpPr>
            <p:nvPr/>
          </p:nvCxnSpPr>
          <p:spPr>
            <a:xfrm rot="16200000" flipH="1">
              <a:off x="8618193" y="3872436"/>
              <a:ext cx="1250680" cy="951493"/>
            </a:xfrm>
            <a:prstGeom prst="curvedConnector2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Verbinder: gekrümmt 85">
              <a:extLst>
                <a:ext uri="{FF2B5EF4-FFF2-40B4-BE49-F238E27FC236}">
                  <a16:creationId xmlns:a16="http://schemas.microsoft.com/office/drawing/2014/main" id="{2042E018-396E-40EA-91C7-8B47E8BCB308}"/>
                </a:ext>
              </a:extLst>
            </p:cNvPr>
            <p:cNvCxnSpPr>
              <a:cxnSpLocks/>
              <a:stCxn id="44" idx="3"/>
              <a:endCxn id="65" idx="0"/>
            </p:cNvCxnSpPr>
            <p:nvPr/>
          </p:nvCxnSpPr>
          <p:spPr>
            <a:xfrm>
              <a:off x="10545161" y="1992196"/>
              <a:ext cx="1147561" cy="1005483"/>
            </a:xfrm>
            <a:prstGeom prst="curvedConnector2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Verbinder: gekrümmt 88">
              <a:extLst>
                <a:ext uri="{FF2B5EF4-FFF2-40B4-BE49-F238E27FC236}">
                  <a16:creationId xmlns:a16="http://schemas.microsoft.com/office/drawing/2014/main" id="{3A77226B-047F-4ED4-85FD-2CFE3D2F9A63}"/>
                </a:ext>
              </a:extLst>
            </p:cNvPr>
            <p:cNvCxnSpPr>
              <a:stCxn id="65" idx="2"/>
              <a:endCxn id="47" idx="1"/>
            </p:cNvCxnSpPr>
            <p:nvPr/>
          </p:nvCxnSpPr>
          <p:spPr>
            <a:xfrm rot="5400000">
              <a:off x="10525222" y="3800510"/>
              <a:ext cx="1235632" cy="1099369"/>
            </a:xfrm>
            <a:prstGeom prst="curvedConnector2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3B429B1A-65F4-4741-873B-26904D854D28}"/>
                </a:ext>
              </a:extLst>
            </p:cNvPr>
            <p:cNvSpPr txBox="1"/>
            <p:nvPr/>
          </p:nvSpPr>
          <p:spPr>
            <a:xfrm>
              <a:off x="8421081" y="1846381"/>
              <a:ext cx="1293992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>
                <a:buClr>
                  <a:srgbClr val="FFC027"/>
                </a:buClr>
              </a:pPr>
              <a:r>
                <a:rPr lang="en-US" sz="1600" dirty="0" err="1">
                  <a:solidFill>
                    <a:srgbClr val="595959"/>
                  </a:solidFill>
                  <a:latin typeface="+mj-lt"/>
                  <a:cs typeface="Lucida Sans Unicode" panose="020B0602030504020204" pitchFamily="34" charset="0"/>
                </a:rPr>
                <a:t>physisch</a:t>
              </a:r>
              <a:endParaRPr lang="en-US" sz="1600" dirty="0">
                <a:solidFill>
                  <a:srgbClr val="595959"/>
                </a:solidFill>
                <a:latin typeface="+mj-lt"/>
                <a:cs typeface="Lucida Sans Unicode" panose="020B0602030504020204" pitchFamily="34" charset="0"/>
              </a:endParaRPr>
            </a:p>
          </p:txBody>
        </p: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E753FF73-9594-4832-9C58-C479F349A0F9}"/>
                </a:ext>
              </a:extLst>
            </p:cNvPr>
            <p:cNvSpPr txBox="1"/>
            <p:nvPr/>
          </p:nvSpPr>
          <p:spPr>
            <a:xfrm>
              <a:off x="11045725" y="1846381"/>
              <a:ext cx="1293992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>
                <a:buClr>
                  <a:srgbClr val="FFC027"/>
                </a:buClr>
              </a:pPr>
              <a:r>
                <a:rPr lang="en-US" sz="1600" dirty="0" err="1">
                  <a:solidFill>
                    <a:srgbClr val="595959"/>
                  </a:solidFill>
                  <a:latin typeface="+mj-lt"/>
                  <a:cs typeface="Lucida Sans Unicode" panose="020B0602030504020204" pitchFamily="34" charset="0"/>
                </a:rPr>
                <a:t>ökonomisch</a:t>
              </a:r>
              <a:endParaRPr lang="en-US" sz="1600" dirty="0">
                <a:solidFill>
                  <a:srgbClr val="595959"/>
                </a:solidFill>
                <a:latin typeface="+mj-lt"/>
                <a:cs typeface="Lucida Sans Unicode" panose="020B0602030504020204" pitchFamily="34" charset="0"/>
              </a:endParaRPr>
            </a:p>
          </p:txBody>
        </p:sp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2181F259-88C1-474C-B778-4442B7B7F8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048656" y="2896171"/>
              <a:ext cx="2215321" cy="937715"/>
            </a:xfrm>
            <a:prstGeom prst="rect">
              <a:avLst/>
            </a:prstGeom>
          </p:spPr>
        </p:pic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8ABE782D-BA52-4F11-9E48-DC434D44F288}"/>
                </a:ext>
              </a:extLst>
            </p:cNvPr>
            <p:cNvGrpSpPr/>
            <p:nvPr/>
          </p:nvGrpSpPr>
          <p:grpSpPr>
            <a:xfrm>
              <a:off x="9958316" y="3162771"/>
              <a:ext cx="396000" cy="396000"/>
              <a:chOff x="9764774" y="3684827"/>
              <a:chExt cx="396000" cy="396000"/>
            </a:xfrm>
          </p:grpSpPr>
          <p:sp>
            <p:nvSpPr>
              <p:cNvPr id="54" name="Ellipse 53">
                <a:extLst>
                  <a:ext uri="{FF2B5EF4-FFF2-40B4-BE49-F238E27FC236}">
                    <a16:creationId xmlns:a16="http://schemas.microsoft.com/office/drawing/2014/main" id="{DF0CDAA6-96C5-4652-9650-7723A7ED2734}"/>
                  </a:ext>
                </a:extLst>
              </p:cNvPr>
              <p:cNvSpPr/>
              <p:nvPr/>
            </p:nvSpPr>
            <p:spPr>
              <a:xfrm>
                <a:off x="9764774" y="3684827"/>
                <a:ext cx="396000" cy="396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5" name="Grafik 54" descr="Sanduhr abgelaufen mit einfarbiger Füllung">
                <a:extLst>
                  <a:ext uri="{FF2B5EF4-FFF2-40B4-BE49-F238E27FC236}">
                    <a16:creationId xmlns:a16="http://schemas.microsoft.com/office/drawing/2014/main" id="{639D95B8-07DE-4345-806B-7C0024DAD0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9781678" y="3701731"/>
                <a:ext cx="362192" cy="362192"/>
              </a:xfrm>
              <a:prstGeom prst="rect">
                <a:avLst/>
              </a:prstGeom>
            </p:spPr>
          </p:pic>
        </p:grpSp>
        <p:cxnSp>
          <p:nvCxnSpPr>
            <p:cNvPr id="96" name="Gerade Verbindung mit Pfeil 95">
              <a:extLst>
                <a:ext uri="{FF2B5EF4-FFF2-40B4-BE49-F238E27FC236}">
                  <a16:creationId xmlns:a16="http://schemas.microsoft.com/office/drawing/2014/main" id="{C6A41922-D7A1-43ED-89CE-7C13FBDD6FFE}"/>
                </a:ext>
              </a:extLst>
            </p:cNvPr>
            <p:cNvCxnSpPr>
              <a:cxnSpLocks/>
            </p:cNvCxnSpPr>
            <p:nvPr/>
          </p:nvCxnSpPr>
          <p:spPr>
            <a:xfrm>
              <a:off x="10145569" y="2368229"/>
              <a:ext cx="0" cy="527942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>
              <a:extLst>
                <a:ext uri="{FF2B5EF4-FFF2-40B4-BE49-F238E27FC236}">
                  <a16:creationId xmlns:a16="http://schemas.microsoft.com/office/drawing/2014/main" id="{4BD8C606-102D-4C44-BD7D-9C5F39ACDD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45569" y="3805523"/>
              <a:ext cx="0" cy="385477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Inhaltsplatzhalter 2">
            <a:extLst>
              <a:ext uri="{FF2B5EF4-FFF2-40B4-BE49-F238E27FC236}">
                <a16:creationId xmlns:a16="http://schemas.microsoft.com/office/drawing/2014/main" id="{929A39F6-9182-416D-864C-EAE3ED395B5B}"/>
              </a:ext>
            </a:extLst>
          </p:cNvPr>
          <p:cNvSpPr txBox="1">
            <a:spLocks/>
          </p:cNvSpPr>
          <p:nvPr/>
        </p:nvSpPr>
        <p:spPr>
          <a:xfrm>
            <a:off x="862440" y="1623273"/>
            <a:ext cx="6684568" cy="458461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4863" indent="-347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6075" indent="-2444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605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de-DE" sz="1800" dirty="0"/>
              <a:t>Netzgekoppelter Elektrolyseur, der über virtuelle Zertifikate von Windkraftanlagen (</a:t>
            </a:r>
            <a:r>
              <a:rPr lang="de-DE" sz="1800" dirty="0" err="1"/>
              <a:t>onshore</a:t>
            </a:r>
            <a:r>
              <a:rPr lang="de-DE" sz="1800" dirty="0"/>
              <a:t>) versorgt wird</a:t>
            </a:r>
          </a:p>
          <a:p>
            <a:pPr>
              <a:spcBef>
                <a:spcPts val="600"/>
              </a:spcBef>
            </a:pPr>
            <a:r>
              <a:rPr lang="de-DE" sz="1800" dirty="0"/>
              <a:t>Zertifikate haben unterschiedliche zeitliche „Lebensdauern”, abhängig von der gewählten Zeitgleichheit (z.B. 15 min, 1h, 8h, 12h,  keine)</a:t>
            </a:r>
          </a:p>
          <a:p>
            <a:pPr>
              <a:spcBef>
                <a:spcPts val="600"/>
              </a:spcBef>
            </a:pPr>
            <a:r>
              <a:rPr lang="de-DE" sz="1800" dirty="0"/>
              <a:t>Der Elektrolyseur verkauft Wasserstoff zu einem fixen Wasserstoffpreis</a:t>
            </a:r>
          </a:p>
          <a:p>
            <a:pPr>
              <a:spcBef>
                <a:spcPts val="600"/>
              </a:spcBef>
            </a:pPr>
            <a:r>
              <a:rPr lang="de-DE" sz="1800" dirty="0"/>
              <a:t>Das Kapazitätsverhältnis zwischen WKA und Elektrolyseur beträgt fix 2:1 (doppelte Überbauung)</a:t>
            </a:r>
          </a:p>
          <a:p>
            <a:pPr>
              <a:spcBef>
                <a:spcPts val="600"/>
              </a:spcBef>
            </a:pPr>
            <a:r>
              <a:rPr lang="de-DE" sz="1800" dirty="0"/>
              <a:t>Ziel der Optimierung ist die Maximierung des Profits durch 15-minütige optimal Einsatzentscheidung innerhalb eines Jahres</a:t>
            </a:r>
          </a:p>
          <a:p>
            <a:pPr marL="0" indent="0">
              <a:buNone/>
            </a:pPr>
            <a:endParaRPr lang="en-US" sz="1800" dirty="0"/>
          </a:p>
          <a:p>
            <a:pPr marL="360045" indent="-360045"/>
            <a:endParaRPr lang="en-US" sz="1800" dirty="0"/>
          </a:p>
        </p:txBody>
      </p:sp>
      <p:sp>
        <p:nvSpPr>
          <p:cNvPr id="102" name="TextBox 11">
            <a:extLst>
              <a:ext uri="{FF2B5EF4-FFF2-40B4-BE49-F238E27FC236}">
                <a16:creationId xmlns:a16="http://schemas.microsoft.com/office/drawing/2014/main" id="{D350D715-A7CF-4585-8CB2-606491E8F592}"/>
              </a:ext>
            </a:extLst>
          </p:cNvPr>
          <p:cNvSpPr txBox="1"/>
          <p:nvPr/>
        </p:nvSpPr>
        <p:spPr>
          <a:xfrm>
            <a:off x="862440" y="6038850"/>
            <a:ext cx="10061121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aseline="30000" dirty="0"/>
              <a:t>1 </a:t>
            </a:r>
            <a:r>
              <a:rPr lang="en-US" sz="1000" baseline="-25000" dirty="0"/>
              <a:t> </a:t>
            </a:r>
            <a:r>
              <a:rPr lang="en-US" sz="1000" dirty="0"/>
              <a:t>Quelle: </a:t>
            </a:r>
            <a:r>
              <a:rPr lang="en-US" sz="1000" dirty="0" err="1"/>
              <a:t>basiert</a:t>
            </a:r>
            <a:r>
              <a:rPr lang="en-US" sz="1000" dirty="0"/>
              <a:t> auf Kopp et al. (2017), </a:t>
            </a:r>
            <a:r>
              <a:rPr lang="en-US" sz="1000" dirty="0" err="1"/>
              <a:t>Glenk</a:t>
            </a:r>
            <a:r>
              <a:rPr lang="en-US" sz="1000" dirty="0"/>
              <a:t> et al. (2020), </a:t>
            </a:r>
            <a:r>
              <a:rPr lang="en-US" sz="1000" dirty="0" err="1"/>
              <a:t>Brändle</a:t>
            </a:r>
            <a:r>
              <a:rPr lang="en-US" sz="1000" dirty="0"/>
              <a:t> et al. (2020)</a:t>
            </a:r>
            <a:endParaRPr lang="en-US" sz="1000" baseline="30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6066433-8169-40A7-9613-DCF22F619199}"/>
              </a:ext>
            </a:extLst>
          </p:cNvPr>
          <p:cNvSpPr txBox="1"/>
          <p:nvPr/>
        </p:nvSpPr>
        <p:spPr>
          <a:xfrm>
            <a:off x="8327169" y="5252843"/>
            <a:ext cx="2417328" cy="98488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/>
            <a:r>
              <a:rPr lang="de-DE" sz="16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Normiert: 1 MW</a:t>
            </a:r>
          </a:p>
          <a:p>
            <a:pPr algn="ctr"/>
            <a:r>
              <a:rPr lang="de-DE" sz="16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Durchschn. Effizienz: 60 %</a:t>
            </a:r>
          </a:p>
          <a:p>
            <a:pPr algn="ctr"/>
            <a:r>
              <a:rPr lang="de-DE" sz="16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CAPEX: 800 €/kW</a:t>
            </a:r>
          </a:p>
          <a:p>
            <a:pPr algn="ctr"/>
            <a:r>
              <a:rPr lang="de-DE" sz="1600" dirty="0">
                <a:solidFill>
                  <a:schemeClr val="tx2"/>
                </a:solidFill>
                <a:latin typeface="Trebuchet MS" panose="020B0603020202020204" pitchFamily="34" charset="0"/>
                <a:cs typeface="Arial"/>
              </a:rPr>
              <a:t>Zins: 7%</a:t>
            </a:r>
          </a:p>
        </p:txBody>
      </p:sp>
    </p:spTree>
    <p:extLst>
      <p:ext uri="{BB962C8B-B14F-4D97-AF65-F5344CB8AC3E}">
        <p14:creationId xmlns:p14="http://schemas.microsoft.com/office/powerpoint/2010/main" val="860825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F6BE3B4-2DFF-4CCD-A2FE-7B99C7321E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798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F6BE3B4-2DFF-4CCD-A2FE-7B99C7321E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wer-to-Gas Dispatch Mod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9788" y="1643063"/>
            <a:ext cx="10515600" cy="307777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r>
              <a:rPr lang="en-US" sz="1800" b="1" dirty="0">
                <a:latin typeface="Arial"/>
                <a:cs typeface="Arial"/>
              </a:rPr>
              <a:t>Model set-up: </a:t>
            </a:r>
            <a:r>
              <a:rPr lang="en-US" sz="1800" dirty="0">
                <a:latin typeface="Arial"/>
                <a:cs typeface="Arial"/>
              </a:rPr>
              <a:t>MILP Problem </a:t>
            </a:r>
            <a:r>
              <a:rPr lang="en-US" sz="1800" dirty="0" err="1">
                <a:latin typeface="Arial"/>
                <a:cs typeface="Arial"/>
              </a:rPr>
              <a:t>mit</a:t>
            </a:r>
            <a:r>
              <a:rPr lang="en-US" sz="1800" dirty="0">
                <a:latin typeface="Arial"/>
                <a:cs typeface="Arial"/>
              </a:rPr>
              <a:t> </a:t>
            </a:r>
            <a:r>
              <a:rPr lang="en-US" sz="1800" dirty="0" err="1">
                <a:latin typeface="Arial"/>
                <a:cs typeface="Arial"/>
              </a:rPr>
              <a:t>perfekter</a:t>
            </a:r>
            <a:r>
              <a:rPr lang="en-US" sz="1800" dirty="0">
                <a:latin typeface="Arial"/>
                <a:cs typeface="Arial"/>
              </a:rPr>
              <a:t> </a:t>
            </a:r>
            <a:r>
              <a:rPr lang="en-US" sz="1800" dirty="0" err="1">
                <a:latin typeface="Arial"/>
                <a:cs typeface="Arial"/>
              </a:rPr>
              <a:t>Voraussicht</a:t>
            </a:r>
            <a:endParaRPr lang="en-US" sz="1800" dirty="0">
              <a:latin typeface="Arial"/>
              <a:cs typeface="Arial"/>
            </a:endParaRPr>
          </a:p>
          <a:p>
            <a:pPr marL="360045" indent="-360045"/>
            <a:endParaRPr lang="en-US" sz="1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D5AAAEE1-2FE5-45B7-B75D-3F851C79A9A0}"/>
                  </a:ext>
                </a:extLst>
              </p:cNvPr>
              <p:cNvSpPr txBox="1"/>
              <p:nvPr/>
            </p:nvSpPr>
            <p:spPr>
              <a:xfrm>
                <a:off x="964094" y="1950840"/>
                <a:ext cx="7234684" cy="20141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buClr>
                    <a:srgbClr val="457A93"/>
                  </a:buClr>
                </a:pPr>
                <a:r>
                  <a:rPr lang="en-US" b="0" dirty="0"/>
                  <a:t>Objective</a:t>
                </a:r>
                <a:endParaRPr lang="en-US" dirty="0"/>
              </a:p>
              <a:p>
                <a:pPr>
                  <a:buClr>
                    <a:srgbClr val="457A93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𝑎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𝑟𝑜𝑓𝑖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𝑅𝑒𝑣𝑒𝑛𝑢𝑒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𝑜𝑠𝑡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𝑒𝑙𝑒𝑐</m:t>
                          </m:r>
                        </m:sub>
                      </m:sSub>
                    </m:oMath>
                  </m:oMathPara>
                </a14:m>
                <a:endParaRPr lang="en-US" b="0" dirty="0"/>
              </a:p>
              <a:p>
                <a:pPr>
                  <a:buClr>
                    <a:srgbClr val="457A93"/>
                  </a:buClr>
                </a:pPr>
                <a:r>
                  <a:rPr lang="en-US" dirty="0" err="1"/>
                  <a:t>s.t.</a:t>
                </a:r>
                <a:endParaRPr lang="en-US" dirty="0"/>
              </a:p>
              <a:p>
                <a:pPr>
                  <a:lnSpc>
                    <a:spcPct val="150000"/>
                  </a:lnSpc>
                  <a:buClr>
                    <a:srgbClr val="457A93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𝑅𝐸𝑐𝑒𝑟𝑡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𝑤𝑖𝑛𝑑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𝐹𝑒𝑒𝑑𝐼𝑛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𝑟𝑒𝑠𝑀𝑢𝑙𝑡𝑖𝑝𝑙𝑖𝑒𝑟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𝑖𝑛𝑠𝑡𝐶𝑎𝑝</m:t>
                    </m:r>
                  </m:oMath>
                </a14:m>
                <a:r>
                  <a:rPr lang="en-US" dirty="0"/>
                  <a:t>  	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</m:oMath>
                </a14:m>
                <a:endParaRPr lang="en-US" dirty="0"/>
              </a:p>
              <a:p>
                <a:pPr>
                  <a:lnSpc>
                    <a:spcPct val="150000"/>
                  </a:lnSpc>
                  <a:buClr>
                    <a:srgbClr val="457A93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𝐿𝑜𝑎𝑑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nary>
                      <m:naryPr>
                        <m:chr m:val="∑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𝑜𝑟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𝐿𝑜𝑎𝑑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r>
                      <a:rPr lang="en-US" b="0" i="1" smtClean="0">
                        <a:latin typeface="Cambria Math" panose="02040503050406030204" pitchFamily="18" charset="0"/>
                      </a:rPr>
                      <m:t>≤</m:t>
                    </m:r>
                    <m:nary>
                      <m:naryPr>
                        <m:chr m:val="∑"/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i="1" smtClean="0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𝑜𝑟</m:t>
                            </m:r>
                          </m:sub>
                        </m:sSub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𝑅𝐸𝑐𝑒𝑟𝑡</m:t>
                            </m:r>
                          </m:e>
                          <m:sub>
                            <m:r>
                              <a:rPr lang="en-US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</m:oMath>
                </a14:m>
                <a:r>
                  <a:rPr lang="en-US" dirty="0"/>
                  <a:t>   		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(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𝑜𝑟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1)</m:t>
                    </m:r>
                  </m:oMath>
                </a14:m>
                <a:endParaRPr lang="en-US" dirty="0"/>
              </a:p>
              <a:p>
                <a:r>
                  <a:rPr lang="en-US" b="0" i="1" dirty="0">
                    <a:ea typeface="Cambria Math" panose="02040503050406030204" pitchFamily="18" charset="0"/>
                  </a:rPr>
                  <a:t>…..</a:t>
                </a: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D5AAAEE1-2FE5-45B7-B75D-3F851C79A9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4094" y="1950840"/>
                <a:ext cx="7234684" cy="2014141"/>
              </a:xfrm>
              <a:prstGeom prst="rect">
                <a:avLst/>
              </a:prstGeom>
              <a:blipFill>
                <a:blip r:embed="rId6"/>
                <a:stretch>
                  <a:fillRect l="-1938" t="-3939" b="-184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AE35D18-080A-4F5B-AFF0-1B488A9FEB73}"/>
              </a:ext>
            </a:extLst>
          </p:cNvPr>
          <p:cNvSpPr txBox="1">
            <a:spLocks/>
          </p:cNvSpPr>
          <p:nvPr/>
        </p:nvSpPr>
        <p:spPr>
          <a:xfrm>
            <a:off x="853735" y="4162577"/>
            <a:ext cx="6443709" cy="185313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4863" indent="-347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6075" indent="-2444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605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 err="1">
                <a:latin typeface="Arial"/>
                <a:cs typeface="Arial"/>
              </a:rPr>
              <a:t>Annahmen</a:t>
            </a:r>
            <a:endParaRPr lang="en-US" sz="1800" b="1" dirty="0"/>
          </a:p>
          <a:p>
            <a:pPr marL="360045" indent="-360045"/>
            <a:r>
              <a:rPr lang="en-US" sz="1800" dirty="0">
                <a:latin typeface="Arial"/>
                <a:cs typeface="Arial"/>
              </a:rPr>
              <a:t>PEM-</a:t>
            </a:r>
            <a:r>
              <a:rPr lang="en-US" sz="1800" dirty="0" err="1">
                <a:latin typeface="Arial"/>
                <a:cs typeface="Arial"/>
              </a:rPr>
              <a:t>Elektrolyseur</a:t>
            </a:r>
            <a:endParaRPr lang="en-US" sz="1800" dirty="0">
              <a:latin typeface="Arial"/>
              <a:cs typeface="Arial"/>
            </a:endParaRPr>
          </a:p>
          <a:p>
            <a:pPr marL="360045" indent="-360045"/>
            <a:r>
              <a:rPr lang="en-US" sz="1800" dirty="0">
                <a:latin typeface="Arial"/>
                <a:cs typeface="Arial"/>
              </a:rPr>
              <a:t>Ramping: 100% of total load in &lt; 1h</a:t>
            </a:r>
            <a:endParaRPr lang="en-US" sz="1800" dirty="0"/>
          </a:p>
          <a:p>
            <a:pPr marL="360045" indent="-360045"/>
            <a:r>
              <a:rPr lang="en-US" sz="1800" dirty="0" err="1">
                <a:latin typeface="Arial"/>
                <a:cs typeface="Arial"/>
              </a:rPr>
              <a:t>Teillast-Effizienz</a:t>
            </a:r>
            <a:r>
              <a:rPr lang="en-US" sz="1800" dirty="0">
                <a:latin typeface="Arial"/>
                <a:cs typeface="Arial"/>
              </a:rPr>
              <a:t> </a:t>
            </a:r>
            <a:r>
              <a:rPr lang="en-US" sz="1800" dirty="0" err="1">
                <a:latin typeface="Arial"/>
                <a:cs typeface="Arial"/>
              </a:rPr>
              <a:t>angenährt</a:t>
            </a:r>
            <a:r>
              <a:rPr lang="en-US" sz="1800" dirty="0">
                <a:latin typeface="Arial"/>
                <a:cs typeface="Arial"/>
              </a:rPr>
              <a:t> </a:t>
            </a:r>
            <a:r>
              <a:rPr lang="en-US" sz="1800" dirty="0" err="1">
                <a:latin typeface="Arial"/>
                <a:cs typeface="Arial"/>
              </a:rPr>
              <a:t>durch</a:t>
            </a:r>
            <a:r>
              <a:rPr lang="en-US" sz="1800" dirty="0">
                <a:latin typeface="Arial"/>
                <a:cs typeface="Arial"/>
              </a:rPr>
              <a:t> </a:t>
            </a:r>
            <a:r>
              <a:rPr lang="en-US" sz="1800" dirty="0" err="1">
                <a:latin typeface="Arial"/>
                <a:cs typeface="Arial"/>
              </a:rPr>
              <a:t>eine</a:t>
            </a:r>
            <a:r>
              <a:rPr lang="en-US" sz="1800" dirty="0">
                <a:latin typeface="Arial"/>
                <a:cs typeface="Arial"/>
              </a:rPr>
              <a:t> linear input-output Funktion</a:t>
            </a:r>
            <a:r>
              <a:rPr lang="en-US" sz="1800" baseline="30000" dirty="0">
                <a:latin typeface="Arial"/>
                <a:cs typeface="Arial"/>
              </a:rPr>
              <a:t>1</a:t>
            </a:r>
          </a:p>
          <a:p>
            <a:pPr marL="0" indent="0">
              <a:buNone/>
            </a:pPr>
            <a:endParaRPr lang="en-US" sz="1800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764217E-0146-45C4-B162-90EF483BB08A}"/>
              </a:ext>
            </a:extLst>
          </p:cNvPr>
          <p:cNvCxnSpPr>
            <a:cxnSpLocks/>
          </p:cNvCxnSpPr>
          <p:nvPr/>
        </p:nvCxnSpPr>
        <p:spPr>
          <a:xfrm>
            <a:off x="859996" y="4086125"/>
            <a:ext cx="6765563" cy="0"/>
          </a:xfrm>
          <a:prstGeom prst="line">
            <a:avLst/>
          </a:prstGeom>
          <a:ln w="28575">
            <a:solidFill>
              <a:srgbClr val="45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1">
            <a:extLst>
              <a:ext uri="{FF2B5EF4-FFF2-40B4-BE49-F238E27FC236}">
                <a16:creationId xmlns:a16="http://schemas.microsoft.com/office/drawing/2014/main" id="{8658E6F0-828A-40C9-BE91-8B3C842296CF}"/>
              </a:ext>
            </a:extLst>
          </p:cNvPr>
          <p:cNvSpPr txBox="1"/>
          <p:nvPr/>
        </p:nvSpPr>
        <p:spPr>
          <a:xfrm>
            <a:off x="8396300" y="6165850"/>
            <a:ext cx="4311550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aseline="30000"/>
              <a:t>1 </a:t>
            </a:r>
            <a:r>
              <a:rPr lang="en-US" sz="1000"/>
              <a:t>Source: based on Kopp et al. (2017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E6D0801-FA25-4A79-9F1C-3082A049C6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497" y="2067172"/>
            <a:ext cx="3526536" cy="3419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490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C48D4E2-0194-4052-BED5-26C48FCC6B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3122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6" imgH="346" progId="TCLayout.ActiveDocument.1">
                  <p:embed/>
                </p:oleObj>
              </mc:Choice>
              <mc:Fallback>
                <p:oleObj name="think-cell Folie" r:id="rId4" imgW="346" imgH="34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C48D4E2-0194-4052-BED5-26C48FCC6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D &amp; DA Regression &amp; MC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9788" y="1633722"/>
            <a:ext cx="2237509" cy="558638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/>
              <a:t>DA-Regre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0431B869-5D1A-4356-94B0-8C2760BE22F5}"/>
                  </a:ext>
                </a:extLst>
              </p:cNvPr>
              <p:cNvSpPr txBox="1"/>
              <p:nvPr/>
            </p:nvSpPr>
            <p:spPr>
              <a:xfrm>
                <a:off x="4006311" y="2216944"/>
                <a:ext cx="3388428" cy="123277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𝐷𝐴</m:t>
                          </m:r>
                        </m:sup>
                      </m:sSup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sSup>
                        <m:sSup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p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sSup>
                        <m:sSup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p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</m:oMath>
                  </m:oMathPara>
                </a14:m>
                <a:endParaRPr lang="en-US" sz="2000" dirty="0"/>
              </a:p>
              <a:p>
                <a:endParaRPr lang="en-US" sz="2000" i="1" dirty="0"/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p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𝐷𝐴</m:t>
                        </m:r>
                      </m:sup>
                    </m:sSup>
                  </m:oMath>
                </a14:m>
                <a:r>
                  <a:rPr lang="en-US" sz="2000" i="1" dirty="0"/>
                  <a:t> Day-ahead price</a:t>
                </a:r>
              </a:p>
              <a:p>
                <a:r>
                  <a:rPr lang="en-US" sz="2000" i="1" dirty="0"/>
                  <a:t>D	Forecasted residual load</a:t>
                </a:r>
              </a:p>
            </p:txBody>
          </p:sp>
        </mc:Choice>
        <mc:Fallback xmlns="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0431B869-5D1A-4356-94B0-8C2760BE22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06311" y="2216944"/>
                <a:ext cx="3388428" cy="1232773"/>
              </a:xfrm>
              <a:prstGeom prst="rect">
                <a:avLst/>
              </a:prstGeom>
              <a:blipFill>
                <a:blip r:embed="rId7"/>
                <a:stretch>
                  <a:fillRect l="-4496" t="-495" b="-113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17B7A26D-CD28-4844-B6A3-1B59734C024C}"/>
                  </a:ext>
                </a:extLst>
              </p:cNvPr>
              <p:cNvSpPr txBox="1"/>
              <p:nvPr/>
            </p:nvSpPr>
            <p:spPr>
              <a:xfrm>
                <a:off x="4006311" y="4415011"/>
                <a:ext cx="3457934" cy="15397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𝐼𝐷</m:t>
                          </m:r>
                        </m:sup>
                      </m:sSup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𝐷𝐴</m:t>
                          </m:r>
                        </m:sup>
                      </m:sSup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sSup>
                        <m:sSup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p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2000" dirty="0"/>
              </a:p>
              <a:p>
                <a:endParaRPr lang="en-US" sz="2000" i="1" dirty="0"/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p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𝐼𝐷</m:t>
                        </m:r>
                      </m:sup>
                    </m:sSup>
                  </m:oMath>
                </a14:m>
                <a:r>
                  <a:rPr lang="en-US" sz="2000" i="1" dirty="0"/>
                  <a:t>	Intraday price</a:t>
                </a:r>
              </a:p>
              <a:p>
                <a:r>
                  <a:rPr lang="en-US" sz="2000" i="1" dirty="0"/>
                  <a:t>W	Wind forecast error</a:t>
                </a:r>
                <a:endParaRPr lang="en-US" sz="2000" dirty="0"/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17B7A26D-CD28-4844-B6A3-1B59734C02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06311" y="4415011"/>
                <a:ext cx="3457934" cy="1539717"/>
              </a:xfrm>
              <a:prstGeom prst="rect">
                <a:avLst/>
              </a:prstGeom>
              <a:blipFill>
                <a:blip r:embed="rId8"/>
                <a:stretch>
                  <a:fillRect l="-44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F37CDF6-7FC8-440D-90FD-E9EA2C4810D8}"/>
              </a:ext>
            </a:extLst>
          </p:cNvPr>
          <p:cNvCxnSpPr>
            <a:cxnSpLocks/>
          </p:cNvCxnSpPr>
          <p:nvPr/>
        </p:nvCxnSpPr>
        <p:spPr>
          <a:xfrm>
            <a:off x="886630" y="4232169"/>
            <a:ext cx="6765563" cy="0"/>
          </a:xfrm>
          <a:prstGeom prst="line">
            <a:avLst/>
          </a:prstGeom>
          <a:ln w="28575">
            <a:solidFill>
              <a:srgbClr val="45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0E1CC95-5381-4EE1-B2C7-3779EC57DABF}"/>
              </a:ext>
            </a:extLst>
          </p:cNvPr>
          <p:cNvSpPr txBox="1">
            <a:spLocks/>
          </p:cNvSpPr>
          <p:nvPr/>
        </p:nvSpPr>
        <p:spPr>
          <a:xfrm>
            <a:off x="839788" y="3867357"/>
            <a:ext cx="2165270" cy="547654"/>
          </a:xfrm>
          <a:prstGeom prst="rect">
            <a:avLst/>
          </a:prstGeom>
        </p:spPr>
        <p:txBody>
          <a:bodyPr/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4863" indent="-347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6075" indent="-2444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605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000" b="1" dirty="0"/>
              <a:t>ID-Regressio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726DFAB-5754-4765-8907-076A8670267C}"/>
              </a:ext>
            </a:extLst>
          </p:cNvPr>
          <p:cNvSpPr txBox="1">
            <a:spLocks/>
          </p:cNvSpPr>
          <p:nvPr/>
        </p:nvSpPr>
        <p:spPr>
          <a:xfrm>
            <a:off x="8279340" y="1633722"/>
            <a:ext cx="2992489" cy="351337"/>
          </a:xfrm>
          <a:prstGeom prst="rect">
            <a:avLst/>
          </a:prstGeom>
        </p:spPr>
        <p:txBody>
          <a:bodyPr/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4863" indent="-347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6075" indent="-2444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605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sz="2000" b="1"/>
              <a:t>MC-Sampling</a:t>
            </a:r>
          </a:p>
          <a:p>
            <a:pPr algn="ctr"/>
            <a:endParaRPr lang="en-US" sz="2000" b="1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64BFCC5B-A4E5-4D1D-8BCF-BFB3A780FF9B}"/>
              </a:ext>
            </a:extLst>
          </p:cNvPr>
          <p:cNvSpPr txBox="1">
            <a:spLocks/>
          </p:cNvSpPr>
          <p:nvPr/>
        </p:nvSpPr>
        <p:spPr>
          <a:xfrm>
            <a:off x="872159" y="2476545"/>
            <a:ext cx="2237508" cy="558638"/>
          </a:xfrm>
          <a:prstGeom prst="rect">
            <a:avLst/>
          </a:prstGeom>
        </p:spPr>
        <p:txBody>
          <a:bodyPr/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4863" indent="-347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6075" indent="-2444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605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000"/>
              <a:t>Elberg et al, 2015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000"/>
              <a:t>Ehrlich et al, 2015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000"/>
              <a:t>Pape et al, 2016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8514C0C3-264D-4BCB-BB80-68B3FBAF922E}"/>
              </a:ext>
            </a:extLst>
          </p:cNvPr>
          <p:cNvSpPr txBox="1">
            <a:spLocks/>
          </p:cNvSpPr>
          <p:nvPr/>
        </p:nvSpPr>
        <p:spPr>
          <a:xfrm>
            <a:off x="912230" y="4723257"/>
            <a:ext cx="2157367" cy="547654"/>
          </a:xfrm>
          <a:prstGeom prst="rect">
            <a:avLst/>
          </a:prstGeom>
        </p:spPr>
        <p:txBody>
          <a:bodyPr/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4863" indent="-347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6075" indent="-2444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605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000"/>
              <a:t>Hageman, 2013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000"/>
              <a:t>Pape et al, 2016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000" err="1"/>
              <a:t>Narajweski</a:t>
            </a:r>
            <a:r>
              <a:rPr lang="en-US" sz="2000"/>
              <a:t>, 2020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000" err="1"/>
              <a:t>Kulakov</a:t>
            </a:r>
            <a:r>
              <a:rPr lang="en-US" sz="2000"/>
              <a:t>, 2021</a:t>
            </a:r>
          </a:p>
        </p:txBody>
      </p: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8A786DA4-25D2-4F07-868D-76B9EA8D1A8C}"/>
              </a:ext>
            </a:extLst>
          </p:cNvPr>
          <p:cNvSpPr/>
          <p:nvPr/>
        </p:nvSpPr>
        <p:spPr>
          <a:xfrm rot="5400000">
            <a:off x="5764847" y="3705508"/>
            <a:ext cx="4336899" cy="298533"/>
          </a:xfrm>
          <a:prstGeom prst="triangle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AA81D6D3-4531-41CA-8157-C3E0B7ED96AC}"/>
              </a:ext>
            </a:extLst>
          </p:cNvPr>
          <p:cNvSpPr txBox="1">
            <a:spLocks/>
          </p:cNvSpPr>
          <p:nvPr/>
        </p:nvSpPr>
        <p:spPr>
          <a:xfrm>
            <a:off x="8267368" y="2432285"/>
            <a:ext cx="2791309" cy="1348899"/>
          </a:xfrm>
          <a:prstGeom prst="rect">
            <a:avLst/>
          </a:prstGeom>
        </p:spPr>
        <p:txBody>
          <a:bodyPr/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4863" indent="-347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6075" indent="-2444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605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000" err="1"/>
              <a:t>Amelin</a:t>
            </a:r>
            <a:r>
              <a:rPr lang="en-US" sz="2000"/>
              <a:t>, 2004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000" err="1"/>
              <a:t>Papaefthymiou</a:t>
            </a:r>
            <a:r>
              <a:rPr lang="en-US" sz="2000"/>
              <a:t>, 2008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000" err="1"/>
              <a:t>Tagliaferri</a:t>
            </a:r>
            <a:r>
              <a:rPr lang="en-US" sz="2000"/>
              <a:t>, 2016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200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8A1712F8-4637-4A33-843A-3F9ED7624451}"/>
              </a:ext>
            </a:extLst>
          </p:cNvPr>
          <p:cNvCxnSpPr>
            <a:cxnSpLocks/>
          </p:cNvCxnSpPr>
          <p:nvPr/>
        </p:nvCxnSpPr>
        <p:spPr>
          <a:xfrm>
            <a:off x="886630" y="1952087"/>
            <a:ext cx="6765563" cy="0"/>
          </a:xfrm>
          <a:prstGeom prst="line">
            <a:avLst/>
          </a:prstGeom>
          <a:ln w="28575">
            <a:solidFill>
              <a:srgbClr val="45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3BD4867-A64C-4D26-94B2-0EFC88D9DDEA}"/>
              </a:ext>
            </a:extLst>
          </p:cNvPr>
          <p:cNvCxnSpPr>
            <a:cxnSpLocks/>
          </p:cNvCxnSpPr>
          <p:nvPr/>
        </p:nvCxnSpPr>
        <p:spPr>
          <a:xfrm>
            <a:off x="8380248" y="1952087"/>
            <a:ext cx="2869260" cy="0"/>
          </a:xfrm>
          <a:prstGeom prst="line">
            <a:avLst/>
          </a:prstGeom>
          <a:ln w="28575">
            <a:solidFill>
              <a:srgbClr val="45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 descr="Ein Bild, das Text, Armleuchter enthält.&#10;&#10;Automatisch generierte Beschreibung">
            <a:extLst>
              <a:ext uri="{FF2B5EF4-FFF2-40B4-BE49-F238E27FC236}">
                <a16:creationId xmlns:a16="http://schemas.microsoft.com/office/drawing/2014/main" id="{DB7723D9-A9FA-44AC-A1D9-231BBAA68B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1852600"/>
            <a:ext cx="720000" cy="720000"/>
          </a:xfrm>
          <a:prstGeom prst="rect">
            <a:avLst/>
          </a:prstGeom>
        </p:spPr>
      </p:pic>
      <p:pic>
        <p:nvPicPr>
          <p:cNvPr id="18" name="Grafik 17" descr="Ein Bild, das Text, Armleuchter enthält.&#10;&#10;Automatisch generierte Beschreibung">
            <a:extLst>
              <a:ext uri="{FF2B5EF4-FFF2-40B4-BE49-F238E27FC236}">
                <a16:creationId xmlns:a16="http://schemas.microsoft.com/office/drawing/2014/main" id="{BFC908BE-2F87-41C6-B74D-95679E13298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40" y="4117714"/>
            <a:ext cx="720000" cy="720000"/>
          </a:xfrm>
          <a:prstGeom prst="rect">
            <a:avLst/>
          </a:prstGeom>
        </p:spPr>
      </p:pic>
      <p:pic>
        <p:nvPicPr>
          <p:cNvPr id="20" name="Grafik 19" descr="Ein Bild, das Text, Armleuchter enthält.&#10;&#10;Automatisch generierte Beschreibung">
            <a:extLst>
              <a:ext uri="{FF2B5EF4-FFF2-40B4-BE49-F238E27FC236}">
                <a16:creationId xmlns:a16="http://schemas.microsoft.com/office/drawing/2014/main" id="{51D318FC-044A-47D8-859C-90C001EB5E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0447" y="1809390"/>
            <a:ext cx="720000" cy="72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990F44A-BCDA-410A-B685-54B86C6B25F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392" y="1859630"/>
            <a:ext cx="720000" cy="720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A632C7C7-FD1E-4C24-B2CB-CD21D6B71FA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639" y="4116118"/>
            <a:ext cx="720000" cy="720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09B2F26-73DA-4EC4-9929-25836663A3A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0448" y="3514508"/>
            <a:ext cx="694956" cy="720000"/>
          </a:xfrm>
          <a:prstGeom prst="rect">
            <a:avLst/>
          </a:prstGeom>
        </p:spPr>
      </p:pic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FEB5DD18-0FF7-49DB-A097-868221D2C72A}"/>
              </a:ext>
            </a:extLst>
          </p:cNvPr>
          <p:cNvSpPr txBox="1">
            <a:spLocks/>
          </p:cNvSpPr>
          <p:nvPr/>
        </p:nvSpPr>
        <p:spPr>
          <a:xfrm>
            <a:off x="8379929" y="4070672"/>
            <a:ext cx="2992489" cy="1348899"/>
          </a:xfrm>
          <a:prstGeom prst="rect">
            <a:avLst/>
          </a:prstGeom>
        </p:spPr>
        <p:txBody>
          <a:bodyPr/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4863" indent="-3476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tabLst>
                <a:tab pos="1255713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6075" indent="-2444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60575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Markov Chains </a:t>
            </a:r>
            <a:r>
              <a:rPr lang="en-US" sz="2000" dirty="0" err="1"/>
              <a:t>mit</a:t>
            </a:r>
            <a:r>
              <a:rPr lang="en-US" sz="2000" dirty="0"/>
              <a:t> 15 states </a:t>
            </a:r>
            <a:r>
              <a:rPr lang="en-US" sz="2000" dirty="0" err="1"/>
              <a:t>für</a:t>
            </a:r>
            <a:r>
              <a:rPr lang="en-US" sz="2000" dirty="0"/>
              <a:t> </a:t>
            </a:r>
            <a:r>
              <a:rPr lang="en-US" sz="2000" i="1" dirty="0"/>
              <a:t>D</a:t>
            </a:r>
            <a:r>
              <a:rPr lang="en-US" sz="2000" dirty="0"/>
              <a:t> und </a:t>
            </a:r>
            <a:r>
              <a:rPr lang="en-US" sz="2000" i="1" dirty="0"/>
              <a:t>W</a:t>
            </a:r>
            <a:r>
              <a:rPr lang="en-US" sz="2000" dirty="0"/>
              <a:t> </a:t>
            </a:r>
          </a:p>
          <a:p>
            <a:r>
              <a:rPr lang="en-US" sz="2000" dirty="0" err="1"/>
              <a:t>Übergangs-wahrscheinlichkeiten</a:t>
            </a:r>
            <a:r>
              <a:rPr lang="en-US" sz="2000" dirty="0"/>
              <a:t> </a:t>
            </a:r>
            <a:r>
              <a:rPr lang="en-US" sz="2000" dirty="0" err="1"/>
              <a:t>basierend</a:t>
            </a:r>
            <a:r>
              <a:rPr lang="en-US" sz="2000" dirty="0"/>
              <a:t> auf 2015-2019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72621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9" grpId="0"/>
      <p:bldP spid="17" grpId="0"/>
      <p:bldP spid="19" grpId="0" animBg="1"/>
      <p:bldP spid="21" grpId="0"/>
      <p:bldP spid="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16808E01179164499C403FCE967BD86" ma:contentTypeVersion="6" ma:contentTypeDescription="Ein neues Dokument erstellen." ma:contentTypeScope="" ma:versionID="d0df36b6d64520cba77e80ee87b6c43f">
  <xsd:schema xmlns:xsd="http://www.w3.org/2001/XMLSchema" xmlns:xs="http://www.w3.org/2001/XMLSchema" xmlns:p="http://schemas.microsoft.com/office/2006/metadata/properties" xmlns:ns2="1baf8082-7bdf-4259-8c77-d2f41e877de2" targetNamespace="http://schemas.microsoft.com/office/2006/metadata/properties" ma:root="true" ma:fieldsID="fbf7d79f20b002f28e0fc7cfb8bb6fba" ns2:_="">
    <xsd:import namespace="1baf8082-7bdf-4259-8c77-d2f41e877d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af8082-7bdf-4259-8c77-d2f41e877d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69519D-E6CE-439E-9C84-772236929708}">
  <ds:schemaRefs>
    <ds:schemaRef ds:uri="1baf8082-7bdf-4259-8c77-d2f41e877de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DFAADA1-B8FE-4432-87F0-C47A93D8A9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baf8082-7bdf-4259-8c77-d2f41e877d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B79A91-26EE-4EC8-B16A-7CBC9BB8891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797</Words>
  <Application>Microsoft Office PowerPoint</Application>
  <PresentationFormat>Breitbild</PresentationFormat>
  <Paragraphs>410</Paragraphs>
  <Slides>24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4" baseType="lpstr">
      <vt:lpstr>Arial</vt:lpstr>
      <vt:lpstr>Calibri</vt:lpstr>
      <vt:lpstr>Calibri Light</vt:lpstr>
      <vt:lpstr>Cambria Math</vt:lpstr>
      <vt:lpstr>Symbol</vt:lpstr>
      <vt:lpstr>Times New Roman</vt:lpstr>
      <vt:lpstr>Trebuchet MS</vt:lpstr>
      <vt:lpstr>Wingdings</vt:lpstr>
      <vt:lpstr>Office</vt:lpstr>
      <vt:lpstr>think-cell Folie</vt:lpstr>
      <vt:lpstr>PowerPoint-Präsentation</vt:lpstr>
      <vt:lpstr>Agenda</vt:lpstr>
      <vt:lpstr>Motivation</vt:lpstr>
      <vt:lpstr>Motivation</vt:lpstr>
      <vt:lpstr>Literatur</vt:lpstr>
      <vt:lpstr>Methodik</vt:lpstr>
      <vt:lpstr>Power-to-Gas Einsatzmodell</vt:lpstr>
      <vt:lpstr>Power-to-Gas Dispatch Model</vt:lpstr>
      <vt:lpstr>ID &amp; DA Regression &amp; MC</vt:lpstr>
      <vt:lpstr>Szenarioergebnisse</vt:lpstr>
      <vt:lpstr>Szenarioergebnisse</vt:lpstr>
      <vt:lpstr>Szenarioergebnisse</vt:lpstr>
      <vt:lpstr>Einordnung und Ausblick</vt:lpstr>
      <vt:lpstr>References</vt:lpstr>
      <vt:lpstr>References</vt:lpstr>
      <vt:lpstr>Electrolyzer assumptions</vt:lpstr>
      <vt:lpstr>Electrolyzer assumptions</vt:lpstr>
      <vt:lpstr>Regression: DA</vt:lpstr>
      <vt:lpstr>Regression: ID</vt:lpstr>
      <vt:lpstr>CO2-emissions of hydrogen production technologies</vt:lpstr>
      <vt:lpstr>Calculation of specific emission factor</vt:lpstr>
      <vt:lpstr>FAQ</vt:lpstr>
      <vt:lpstr>FAQ</vt:lpstr>
      <vt:lpstr>FAQ</vt:lpstr>
    </vt:vector>
  </TitlesOfParts>
  <Company>Universität zu Köl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bora schiffer</dc:creator>
  <cp:lastModifiedBy>Philipp Theile | EWI</cp:lastModifiedBy>
  <cp:revision>1</cp:revision>
  <dcterms:created xsi:type="dcterms:W3CDTF">2017-04-11T15:02:11Z</dcterms:created>
  <dcterms:modified xsi:type="dcterms:W3CDTF">2021-09-07T06:3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6808E01179164499C403FCE967BD86</vt:lpwstr>
  </property>
</Properties>
</file>